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42" r:id="rId2"/>
  </p:sldMasterIdLst>
  <p:notesMasterIdLst>
    <p:notesMasterId r:id="rId44"/>
  </p:notesMasterIdLst>
  <p:handoutMasterIdLst>
    <p:handoutMasterId r:id="rId45"/>
  </p:handoutMasterIdLst>
  <p:sldIdLst>
    <p:sldId id="787" r:id="rId3"/>
    <p:sldId id="859" r:id="rId4"/>
    <p:sldId id="800" r:id="rId5"/>
    <p:sldId id="879" r:id="rId6"/>
    <p:sldId id="799" r:id="rId7"/>
    <p:sldId id="812" r:id="rId8"/>
    <p:sldId id="807" r:id="rId9"/>
    <p:sldId id="880" r:id="rId10"/>
    <p:sldId id="899" r:id="rId11"/>
    <p:sldId id="915" r:id="rId12"/>
    <p:sldId id="895" r:id="rId13"/>
    <p:sldId id="876" r:id="rId14"/>
    <p:sldId id="888" r:id="rId15"/>
    <p:sldId id="872" r:id="rId16"/>
    <p:sldId id="892" r:id="rId17"/>
    <p:sldId id="862" r:id="rId18"/>
    <p:sldId id="900" r:id="rId19"/>
    <p:sldId id="916" r:id="rId20"/>
    <p:sldId id="816" r:id="rId21"/>
    <p:sldId id="896" r:id="rId22"/>
    <p:sldId id="897" r:id="rId23"/>
    <p:sldId id="898" r:id="rId24"/>
    <p:sldId id="901" r:id="rId25"/>
    <p:sldId id="902" r:id="rId26"/>
    <p:sldId id="903" r:id="rId27"/>
    <p:sldId id="917" r:id="rId28"/>
    <p:sldId id="904" r:id="rId29"/>
    <p:sldId id="906" r:id="rId30"/>
    <p:sldId id="918" r:id="rId31"/>
    <p:sldId id="905" r:id="rId32"/>
    <p:sldId id="907" r:id="rId33"/>
    <p:sldId id="908" r:id="rId34"/>
    <p:sldId id="919" r:id="rId35"/>
    <p:sldId id="920" r:id="rId36"/>
    <p:sldId id="891" r:id="rId37"/>
    <p:sldId id="909" r:id="rId38"/>
    <p:sldId id="910" r:id="rId39"/>
    <p:sldId id="911" r:id="rId40"/>
    <p:sldId id="912" r:id="rId41"/>
    <p:sldId id="913" r:id="rId42"/>
    <p:sldId id="914" r:id="rId43"/>
  </p:sldIdLst>
  <p:sldSz cx="12192000" cy="6858000"/>
  <p:notesSz cx="6797675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1F16"/>
    <a:srgbClr val="066948"/>
    <a:srgbClr val="A81609"/>
    <a:srgbClr val="056545"/>
    <a:srgbClr val="FF8F8F"/>
    <a:srgbClr val="B00307"/>
    <a:srgbClr val="2E663E"/>
    <a:srgbClr val="92F9D7"/>
    <a:srgbClr val="07895E"/>
    <a:srgbClr val="5D5B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60" autoAdjust="0"/>
    <p:restoredTop sz="94622" autoAdjust="0"/>
  </p:normalViewPr>
  <p:slideViewPr>
    <p:cSldViewPr snapToGrid="0">
      <p:cViewPr varScale="1">
        <p:scale>
          <a:sx n="80" d="100"/>
          <a:sy n="80" d="100"/>
        </p:scale>
        <p:origin x="192" y="51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41" d="100"/>
        <a:sy n="41" d="100"/>
      </p:scale>
      <p:origin x="0" y="-582"/>
    </p:cViewPr>
  </p:sorterViewPr>
  <p:notesViewPr>
    <p:cSldViewPr snapToGrid="0">
      <p:cViewPr varScale="1">
        <p:scale>
          <a:sx n="54" d="100"/>
          <a:sy n="54" d="100"/>
        </p:scale>
        <p:origin x="282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presProps" Target="pres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-2021 уч.год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школьный этап</c:v>
                </c:pt>
                <c:pt idx="1">
                  <c:v>муниципальный этап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73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E2-4725-B22A-948167AAC4D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-2022 уч.год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школьный этап</c:v>
                </c:pt>
                <c:pt idx="1">
                  <c:v>муниципальный этап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430</c:v>
                </c:pt>
                <c:pt idx="1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E2-4725-B22A-948167AAC4D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-2023 уч.год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школьный этап</c:v>
                </c:pt>
                <c:pt idx="1">
                  <c:v>муниципальный этап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455</c:v>
                </c:pt>
                <c:pt idx="1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E2-4725-B22A-948167AAC4D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290802176"/>
        <c:axId val="290804528"/>
        <c:axId val="472887072"/>
      </c:bar3DChart>
      <c:catAx>
        <c:axId val="290802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90804528"/>
        <c:crosses val="autoZero"/>
        <c:auto val="1"/>
        <c:lblAlgn val="ctr"/>
        <c:lblOffset val="100"/>
        <c:noMultiLvlLbl val="0"/>
      </c:catAx>
      <c:valAx>
        <c:axId val="290804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90802176"/>
        <c:crosses val="autoZero"/>
        <c:crossBetween val="between"/>
      </c:valAx>
      <c:serAx>
        <c:axId val="47288707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90804528"/>
        <c:crosses val="autoZero"/>
      </c:ser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>
                <a:solidFill>
                  <a:srgbClr val="002060"/>
                </a:solidFill>
              </a:rPr>
              <a:t>Победители и призеры Муниципального  этапа ВсОШ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5.7798920968212306E-2"/>
          <c:y val="0.23436507936507936"/>
          <c:w val="0.9190529308836396"/>
          <c:h val="0.63675946756655422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бедители и призеры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Lbls>
            <c:dLbl>
              <c:idx val="0"/>
              <c:layout>
                <c:manualLayout>
                  <c:x val="2.1218890680033321E-17"/>
                  <c:y val="-3.5714285714285754E-2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 </a:t>
                    </a:r>
                    <a:fld id="{AAED3EFD-7075-4EFF-B207-6E5D2F291751}" type="VALUE">
                      <a:rPr lang="en-US" baseline="0"/>
                      <a:pPr/>
                      <a:t>[ЗНАЧЕНИЕ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479A-4212-8E7A-31CFB72379B3}"/>
                </c:ext>
              </c:extLst>
            </c:dLbl>
            <c:dLbl>
              <c:idx val="1"/>
              <c:layout>
                <c:manualLayout>
                  <c:x val="2.3148148148148147E-3"/>
                  <c:y val="-3.5714285714285712E-2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 </a:t>
                    </a:r>
                    <a:fld id="{13AFA0CE-20FC-4C44-AE4F-1D4EEA8B5FAD}" type="VALUE">
                      <a:rPr lang="en-US" baseline="0"/>
                      <a:pPr/>
                      <a:t>[ЗНАЧЕНИЕ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79A-4212-8E7A-31CFB72379B3}"/>
                </c:ext>
              </c:extLst>
            </c:dLbl>
            <c:dLbl>
              <c:idx val="2"/>
              <c:layout>
                <c:manualLayout>
                  <c:x val="2.0833333333333249E-2"/>
                  <c:y val="-3.5714285714285712E-2"/>
                </c:manualLayout>
              </c:layout>
              <c:tx>
                <c:rich>
                  <a:bodyPr/>
                  <a:lstStyle/>
                  <a:p>
                    <a:fld id="{A3DC1156-97FC-46AA-8050-F28FC51EF98C}" type="VALUE">
                      <a:rPr lang="en-US" baseline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479A-4212-8E7A-31CFB72379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2020-2021 уч. год</c:v>
                </c:pt>
                <c:pt idx="1">
                  <c:v>2021-2022 уч.год</c:v>
                </c:pt>
                <c:pt idx="2">
                  <c:v>2022-2023 уч.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2</c:v>
                </c:pt>
                <c:pt idx="1">
                  <c:v>32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79A-4212-8E7A-31CFB72379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90802960"/>
        <c:axId val="399837984"/>
        <c:axId val="472887496"/>
      </c:bar3DChart>
      <c:catAx>
        <c:axId val="290802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99837984"/>
        <c:crosses val="autoZero"/>
        <c:auto val="1"/>
        <c:lblAlgn val="ctr"/>
        <c:lblOffset val="100"/>
        <c:noMultiLvlLbl val="0"/>
      </c:catAx>
      <c:valAx>
        <c:axId val="399837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90802960"/>
        <c:crosses val="autoZero"/>
        <c:crossBetween val="between"/>
      </c:valAx>
      <c:serAx>
        <c:axId val="472887496"/>
        <c:scaling>
          <c:orientation val="minMax"/>
        </c:scaling>
        <c:delete val="1"/>
        <c:axPos val="b"/>
        <c:majorTickMark val="none"/>
        <c:minorTickMark val="none"/>
        <c:tickLblPos val="nextTo"/>
        <c:crossAx val="399837984"/>
        <c:crosses val="autoZero"/>
      </c:ser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DB1F078-A744-4455-BA11-82BB2F3560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8215"/>
          </a:xfrm>
          <a:prstGeom prst="rect">
            <a:avLst/>
          </a:prstGeom>
        </p:spPr>
        <p:txBody>
          <a:bodyPr vert="horz" lIns="92126" tIns="46063" rIns="92126" bIns="4606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68569D-7C58-4025-B338-6A0F1131A45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2" y="1"/>
            <a:ext cx="2945660" cy="498215"/>
          </a:xfrm>
          <a:prstGeom prst="rect">
            <a:avLst/>
          </a:prstGeom>
        </p:spPr>
        <p:txBody>
          <a:bodyPr vert="horz" lIns="92126" tIns="46063" rIns="92126" bIns="46063" rtlCol="0"/>
          <a:lstStyle>
            <a:lvl1pPr algn="r">
              <a:defRPr sz="1200"/>
            </a:lvl1pPr>
          </a:lstStyle>
          <a:p>
            <a:fld id="{C7C0F9D2-E95A-4444-965E-46847630CC3A}" type="datetimeFigureOut">
              <a:rPr lang="en-US" smtClean="0"/>
              <a:pPr/>
              <a:t>5/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F4C3B5-0A64-44EA-A6D9-43AA2BA6A4F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1600"/>
            <a:ext cx="2945660" cy="498214"/>
          </a:xfrm>
          <a:prstGeom prst="rect">
            <a:avLst/>
          </a:prstGeom>
        </p:spPr>
        <p:txBody>
          <a:bodyPr vert="horz" lIns="92126" tIns="46063" rIns="92126" bIns="4606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985436-16DC-4056-8D5C-89A148A5BE4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2" y="9431600"/>
            <a:ext cx="2945660" cy="498214"/>
          </a:xfrm>
          <a:prstGeom prst="rect">
            <a:avLst/>
          </a:prstGeom>
        </p:spPr>
        <p:txBody>
          <a:bodyPr vert="horz" lIns="92126" tIns="46063" rIns="92126" bIns="46063" rtlCol="0" anchor="b"/>
          <a:lstStyle>
            <a:lvl1pPr algn="r">
              <a:defRPr sz="1200"/>
            </a:lvl1pPr>
          </a:lstStyle>
          <a:p>
            <a:fld id="{C5430FCB-8F2D-40E2-8E57-A5054A98A4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8535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8215"/>
          </a:xfrm>
          <a:prstGeom prst="rect">
            <a:avLst/>
          </a:prstGeom>
        </p:spPr>
        <p:txBody>
          <a:bodyPr vert="horz" lIns="92126" tIns="46063" rIns="92126" bIns="4606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2" y="1"/>
            <a:ext cx="2945660" cy="498215"/>
          </a:xfrm>
          <a:prstGeom prst="rect">
            <a:avLst/>
          </a:prstGeom>
        </p:spPr>
        <p:txBody>
          <a:bodyPr vert="horz" lIns="92126" tIns="46063" rIns="92126" bIns="46063" rtlCol="0"/>
          <a:lstStyle>
            <a:lvl1pPr algn="r">
              <a:defRPr sz="1200"/>
            </a:lvl1pPr>
          </a:lstStyle>
          <a:p>
            <a:fld id="{13356311-DC18-42A6-B723-ACBCCFA301FA}" type="datetimeFigureOut">
              <a:rPr lang="en-US" smtClean="0"/>
              <a:pPr/>
              <a:t>5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26" tIns="46063" rIns="92126" bIns="4606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8723"/>
            <a:ext cx="5438140" cy="3909864"/>
          </a:xfrm>
          <a:prstGeom prst="rect">
            <a:avLst/>
          </a:prstGeom>
        </p:spPr>
        <p:txBody>
          <a:bodyPr vert="horz" lIns="92126" tIns="46063" rIns="92126" bIns="46063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5660" cy="498214"/>
          </a:xfrm>
          <a:prstGeom prst="rect">
            <a:avLst/>
          </a:prstGeom>
        </p:spPr>
        <p:txBody>
          <a:bodyPr vert="horz" lIns="92126" tIns="46063" rIns="92126" bIns="4606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2" y="9431600"/>
            <a:ext cx="2945660" cy="498214"/>
          </a:xfrm>
          <a:prstGeom prst="rect">
            <a:avLst/>
          </a:prstGeom>
        </p:spPr>
        <p:txBody>
          <a:bodyPr vert="horz" lIns="92126" tIns="46063" rIns="92126" bIns="46063" rtlCol="0" anchor="b"/>
          <a:lstStyle>
            <a:lvl1pPr algn="r">
              <a:defRPr sz="1200"/>
            </a:lvl1pPr>
          </a:lstStyle>
          <a:p>
            <a:fld id="{3CB8FB82-B2BD-4988-97FD-FFD4CD47A6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737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4903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1440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2131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9760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2218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9822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0978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2074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4994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493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408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4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010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2455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55722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901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9227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194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7512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5562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54834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4080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768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88456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6834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>
                <a:solidFill>
                  <a:prstClr val="black"/>
                </a:solidFill>
              </a:rPr>
              <a:pPr/>
              <a:t>4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796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9287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751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4353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7934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2737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B8FB82-B2BD-4988-97FD-FFD4CD47A613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886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7F79A93-8496-4002-9777-175A4D2594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0877" y="352350"/>
            <a:ext cx="5461320" cy="6153301"/>
          </a:xfrm>
          <a:custGeom>
            <a:avLst/>
            <a:gdLst>
              <a:gd name="connsiteX0" fmla="*/ 5184296 w 5461320"/>
              <a:gd name="connsiteY0" fmla="*/ 1622161 h 6153301"/>
              <a:gd name="connsiteX1" fmla="*/ 5461320 w 5461320"/>
              <a:gd name="connsiteY1" fmla="*/ 1899184 h 6153301"/>
              <a:gd name="connsiteX2" fmla="*/ 5461319 w 5461320"/>
              <a:gd name="connsiteY2" fmla="*/ 4483002 h 6153301"/>
              <a:gd name="connsiteX3" fmla="*/ 5184295 w 5461320"/>
              <a:gd name="connsiteY3" fmla="*/ 4760026 h 6153301"/>
              <a:gd name="connsiteX4" fmla="*/ 5184296 w 5461320"/>
              <a:gd name="connsiteY4" fmla="*/ 4760025 h 6153301"/>
              <a:gd name="connsiteX5" fmla="*/ 4907272 w 5461320"/>
              <a:gd name="connsiteY5" fmla="*/ 4483001 h 6153301"/>
              <a:gd name="connsiteX6" fmla="*/ 4907272 w 5461320"/>
              <a:gd name="connsiteY6" fmla="*/ 1899184 h 6153301"/>
              <a:gd name="connsiteX7" fmla="*/ 5184296 w 5461320"/>
              <a:gd name="connsiteY7" fmla="*/ 1622161 h 6153301"/>
              <a:gd name="connsiteX8" fmla="*/ 277024 w 5461320"/>
              <a:gd name="connsiteY8" fmla="*/ 1321416 h 6153301"/>
              <a:gd name="connsiteX9" fmla="*/ 554048 w 5461320"/>
              <a:gd name="connsiteY9" fmla="*/ 1598440 h 6153301"/>
              <a:gd name="connsiteX10" fmla="*/ 554047 w 5461320"/>
              <a:gd name="connsiteY10" fmla="*/ 4182257 h 6153301"/>
              <a:gd name="connsiteX11" fmla="*/ 277023 w 5461320"/>
              <a:gd name="connsiteY11" fmla="*/ 4459281 h 6153301"/>
              <a:gd name="connsiteX12" fmla="*/ 277024 w 5461320"/>
              <a:gd name="connsiteY12" fmla="*/ 4459280 h 6153301"/>
              <a:gd name="connsiteX13" fmla="*/ 0 w 5461320"/>
              <a:gd name="connsiteY13" fmla="*/ 4182256 h 6153301"/>
              <a:gd name="connsiteX14" fmla="*/ 0 w 5461320"/>
              <a:gd name="connsiteY14" fmla="*/ 1598440 h 6153301"/>
              <a:gd name="connsiteX15" fmla="*/ 277024 w 5461320"/>
              <a:gd name="connsiteY15" fmla="*/ 1321416 h 6153301"/>
              <a:gd name="connsiteX16" fmla="*/ 1503842 w 5461320"/>
              <a:gd name="connsiteY16" fmla="*/ 1033979 h 6153301"/>
              <a:gd name="connsiteX17" fmla="*/ 1780865 w 5461320"/>
              <a:gd name="connsiteY17" fmla="*/ 1311002 h 6153301"/>
              <a:gd name="connsiteX18" fmla="*/ 1780864 w 5461320"/>
              <a:gd name="connsiteY18" fmla="*/ 5308056 h 6153301"/>
              <a:gd name="connsiteX19" fmla="*/ 1503840 w 5461320"/>
              <a:gd name="connsiteY19" fmla="*/ 5585080 h 6153301"/>
              <a:gd name="connsiteX20" fmla="*/ 1503842 w 5461320"/>
              <a:gd name="connsiteY20" fmla="*/ 5585079 h 6153301"/>
              <a:gd name="connsiteX21" fmla="*/ 1226818 w 5461320"/>
              <a:gd name="connsiteY21" fmla="*/ 5308055 h 6153301"/>
              <a:gd name="connsiteX22" fmla="*/ 1226818 w 5461320"/>
              <a:gd name="connsiteY22" fmla="*/ 1311002 h 6153301"/>
              <a:gd name="connsiteX23" fmla="*/ 1503842 w 5461320"/>
              <a:gd name="connsiteY23" fmla="*/ 1033979 h 6153301"/>
              <a:gd name="connsiteX24" fmla="*/ 4570887 w 5461320"/>
              <a:gd name="connsiteY24" fmla="*/ 1033978 h 6153301"/>
              <a:gd name="connsiteX25" fmla="*/ 4847911 w 5461320"/>
              <a:gd name="connsiteY25" fmla="*/ 1311002 h 6153301"/>
              <a:gd name="connsiteX26" fmla="*/ 4847910 w 5461320"/>
              <a:gd name="connsiteY26" fmla="*/ 5308056 h 6153301"/>
              <a:gd name="connsiteX27" fmla="*/ 4570886 w 5461320"/>
              <a:gd name="connsiteY27" fmla="*/ 5585080 h 6153301"/>
              <a:gd name="connsiteX28" fmla="*/ 4570887 w 5461320"/>
              <a:gd name="connsiteY28" fmla="*/ 5585079 h 6153301"/>
              <a:gd name="connsiteX29" fmla="*/ 4293863 w 5461320"/>
              <a:gd name="connsiteY29" fmla="*/ 5308055 h 6153301"/>
              <a:gd name="connsiteX30" fmla="*/ 4293863 w 5461320"/>
              <a:gd name="connsiteY30" fmla="*/ 1311002 h 6153301"/>
              <a:gd name="connsiteX31" fmla="*/ 4570887 w 5461320"/>
              <a:gd name="connsiteY31" fmla="*/ 1033978 h 6153301"/>
              <a:gd name="connsiteX32" fmla="*/ 3344069 w 5461320"/>
              <a:gd name="connsiteY32" fmla="*/ 915542 h 6153301"/>
              <a:gd name="connsiteX33" fmla="*/ 3621093 w 5461320"/>
              <a:gd name="connsiteY33" fmla="*/ 1192566 h 6153301"/>
              <a:gd name="connsiteX34" fmla="*/ 3621092 w 5461320"/>
              <a:gd name="connsiteY34" fmla="*/ 5189620 h 6153301"/>
              <a:gd name="connsiteX35" fmla="*/ 3344068 w 5461320"/>
              <a:gd name="connsiteY35" fmla="*/ 5466644 h 6153301"/>
              <a:gd name="connsiteX36" fmla="*/ 3344069 w 5461320"/>
              <a:gd name="connsiteY36" fmla="*/ 5466643 h 6153301"/>
              <a:gd name="connsiteX37" fmla="*/ 3067045 w 5461320"/>
              <a:gd name="connsiteY37" fmla="*/ 5189619 h 6153301"/>
              <a:gd name="connsiteX38" fmla="*/ 3067045 w 5461320"/>
              <a:gd name="connsiteY38" fmla="*/ 1192566 h 6153301"/>
              <a:gd name="connsiteX39" fmla="*/ 3344069 w 5461320"/>
              <a:gd name="connsiteY39" fmla="*/ 915542 h 6153301"/>
              <a:gd name="connsiteX40" fmla="*/ 2730659 w 5461320"/>
              <a:gd name="connsiteY40" fmla="*/ 801099 h 6153301"/>
              <a:gd name="connsiteX41" fmla="*/ 3007683 w 5461320"/>
              <a:gd name="connsiteY41" fmla="*/ 1078123 h 6153301"/>
              <a:gd name="connsiteX42" fmla="*/ 3007682 w 5461320"/>
              <a:gd name="connsiteY42" fmla="*/ 5876277 h 6153301"/>
              <a:gd name="connsiteX43" fmla="*/ 2730658 w 5461320"/>
              <a:gd name="connsiteY43" fmla="*/ 6153301 h 6153301"/>
              <a:gd name="connsiteX44" fmla="*/ 2730659 w 5461320"/>
              <a:gd name="connsiteY44" fmla="*/ 6153300 h 6153301"/>
              <a:gd name="connsiteX45" fmla="*/ 2453635 w 5461320"/>
              <a:gd name="connsiteY45" fmla="*/ 5876276 h 6153301"/>
              <a:gd name="connsiteX46" fmla="*/ 2453635 w 5461320"/>
              <a:gd name="connsiteY46" fmla="*/ 1078123 h 6153301"/>
              <a:gd name="connsiteX47" fmla="*/ 2730659 w 5461320"/>
              <a:gd name="connsiteY47" fmla="*/ 801099 h 6153301"/>
              <a:gd name="connsiteX48" fmla="*/ 890432 w 5461320"/>
              <a:gd name="connsiteY48" fmla="*/ 573543 h 6153301"/>
              <a:gd name="connsiteX49" fmla="*/ 1167457 w 5461320"/>
              <a:gd name="connsiteY49" fmla="*/ 850567 h 6153301"/>
              <a:gd name="connsiteX50" fmla="*/ 1167456 w 5461320"/>
              <a:gd name="connsiteY50" fmla="*/ 4847621 h 6153301"/>
              <a:gd name="connsiteX51" fmla="*/ 890432 w 5461320"/>
              <a:gd name="connsiteY51" fmla="*/ 5124645 h 6153301"/>
              <a:gd name="connsiteX52" fmla="*/ 890432 w 5461320"/>
              <a:gd name="connsiteY52" fmla="*/ 5124644 h 6153301"/>
              <a:gd name="connsiteX53" fmla="*/ 613408 w 5461320"/>
              <a:gd name="connsiteY53" fmla="*/ 4847620 h 6153301"/>
              <a:gd name="connsiteX54" fmla="*/ 613408 w 5461320"/>
              <a:gd name="connsiteY54" fmla="*/ 850567 h 6153301"/>
              <a:gd name="connsiteX55" fmla="*/ 890432 w 5461320"/>
              <a:gd name="connsiteY55" fmla="*/ 573543 h 6153301"/>
              <a:gd name="connsiteX56" fmla="*/ 3957478 w 5461320"/>
              <a:gd name="connsiteY56" fmla="*/ 336673 h 6153301"/>
              <a:gd name="connsiteX57" fmla="*/ 4234502 w 5461320"/>
              <a:gd name="connsiteY57" fmla="*/ 613697 h 6153301"/>
              <a:gd name="connsiteX58" fmla="*/ 4234501 w 5461320"/>
              <a:gd name="connsiteY58" fmla="*/ 4610751 h 6153301"/>
              <a:gd name="connsiteX59" fmla="*/ 3957477 w 5461320"/>
              <a:gd name="connsiteY59" fmla="*/ 4887775 h 6153301"/>
              <a:gd name="connsiteX60" fmla="*/ 3957478 w 5461320"/>
              <a:gd name="connsiteY60" fmla="*/ 4887774 h 6153301"/>
              <a:gd name="connsiteX61" fmla="*/ 3680454 w 5461320"/>
              <a:gd name="connsiteY61" fmla="*/ 4610750 h 6153301"/>
              <a:gd name="connsiteX62" fmla="*/ 3680454 w 5461320"/>
              <a:gd name="connsiteY62" fmla="*/ 613697 h 6153301"/>
              <a:gd name="connsiteX63" fmla="*/ 3957478 w 5461320"/>
              <a:gd name="connsiteY63" fmla="*/ 336673 h 6153301"/>
              <a:gd name="connsiteX64" fmla="*/ 2117250 w 5461320"/>
              <a:gd name="connsiteY64" fmla="*/ 0 h 6153301"/>
              <a:gd name="connsiteX65" fmla="*/ 2394274 w 5461320"/>
              <a:gd name="connsiteY65" fmla="*/ 277024 h 6153301"/>
              <a:gd name="connsiteX66" fmla="*/ 2394273 w 5461320"/>
              <a:gd name="connsiteY66" fmla="*/ 4847621 h 6153301"/>
              <a:gd name="connsiteX67" fmla="*/ 2117249 w 5461320"/>
              <a:gd name="connsiteY67" fmla="*/ 5124645 h 6153301"/>
              <a:gd name="connsiteX68" fmla="*/ 2117250 w 5461320"/>
              <a:gd name="connsiteY68" fmla="*/ 5124644 h 6153301"/>
              <a:gd name="connsiteX69" fmla="*/ 1840226 w 5461320"/>
              <a:gd name="connsiteY69" fmla="*/ 4847620 h 6153301"/>
              <a:gd name="connsiteX70" fmla="*/ 1840226 w 5461320"/>
              <a:gd name="connsiteY70" fmla="*/ 277024 h 6153301"/>
              <a:gd name="connsiteX71" fmla="*/ 2117250 w 5461320"/>
              <a:gd name="connsiteY71" fmla="*/ 0 h 615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5461320" h="6153301">
                <a:moveTo>
                  <a:pt x="5184296" y="1622161"/>
                </a:moveTo>
                <a:cubicBezTo>
                  <a:pt x="5337292" y="1622161"/>
                  <a:pt x="5461320" y="1746188"/>
                  <a:pt x="5461320" y="1899184"/>
                </a:cubicBezTo>
                <a:cubicBezTo>
                  <a:pt x="5461320" y="2760457"/>
                  <a:pt x="5461319" y="3621729"/>
                  <a:pt x="5461319" y="4483002"/>
                </a:cubicBezTo>
                <a:cubicBezTo>
                  <a:pt x="5461319" y="4635998"/>
                  <a:pt x="5337291" y="4760026"/>
                  <a:pt x="5184295" y="4760026"/>
                </a:cubicBezTo>
                <a:lnTo>
                  <a:pt x="5184296" y="4760025"/>
                </a:lnTo>
                <a:cubicBezTo>
                  <a:pt x="5031300" y="4760025"/>
                  <a:pt x="4907272" y="4635997"/>
                  <a:pt x="4907272" y="4483001"/>
                </a:cubicBezTo>
                <a:lnTo>
                  <a:pt x="4907272" y="1899184"/>
                </a:lnTo>
                <a:cubicBezTo>
                  <a:pt x="4907272" y="1746188"/>
                  <a:pt x="5031300" y="1622161"/>
                  <a:pt x="5184296" y="1622161"/>
                </a:cubicBezTo>
                <a:close/>
                <a:moveTo>
                  <a:pt x="277024" y="1321416"/>
                </a:moveTo>
                <a:cubicBezTo>
                  <a:pt x="430019" y="1321416"/>
                  <a:pt x="554048" y="1445444"/>
                  <a:pt x="554048" y="1598440"/>
                </a:cubicBezTo>
                <a:cubicBezTo>
                  <a:pt x="554048" y="2459712"/>
                  <a:pt x="554047" y="3320984"/>
                  <a:pt x="554047" y="4182257"/>
                </a:cubicBezTo>
                <a:cubicBezTo>
                  <a:pt x="554047" y="4335253"/>
                  <a:pt x="430019" y="4459281"/>
                  <a:pt x="277023" y="4459281"/>
                </a:cubicBezTo>
                <a:lnTo>
                  <a:pt x="277024" y="4459280"/>
                </a:lnTo>
                <a:cubicBezTo>
                  <a:pt x="124028" y="4459280"/>
                  <a:pt x="0" y="4335252"/>
                  <a:pt x="0" y="4182256"/>
                </a:cubicBezTo>
                <a:lnTo>
                  <a:pt x="0" y="1598440"/>
                </a:lnTo>
                <a:cubicBezTo>
                  <a:pt x="0" y="1445444"/>
                  <a:pt x="124028" y="1321416"/>
                  <a:pt x="277024" y="1321416"/>
                </a:cubicBezTo>
                <a:close/>
                <a:moveTo>
                  <a:pt x="1503842" y="1033979"/>
                </a:moveTo>
                <a:cubicBezTo>
                  <a:pt x="1656837" y="1033979"/>
                  <a:pt x="1780865" y="1158006"/>
                  <a:pt x="1780865" y="1311002"/>
                </a:cubicBezTo>
                <a:cubicBezTo>
                  <a:pt x="1780865" y="2643353"/>
                  <a:pt x="1780864" y="3975705"/>
                  <a:pt x="1780864" y="5308056"/>
                </a:cubicBezTo>
                <a:cubicBezTo>
                  <a:pt x="1780864" y="5461052"/>
                  <a:pt x="1656836" y="5585080"/>
                  <a:pt x="1503840" y="5585080"/>
                </a:cubicBezTo>
                <a:lnTo>
                  <a:pt x="1503842" y="5585079"/>
                </a:lnTo>
                <a:cubicBezTo>
                  <a:pt x="1350845" y="5585079"/>
                  <a:pt x="1226818" y="5461051"/>
                  <a:pt x="1226818" y="5308055"/>
                </a:cubicBezTo>
                <a:lnTo>
                  <a:pt x="1226818" y="1311002"/>
                </a:lnTo>
                <a:cubicBezTo>
                  <a:pt x="1226818" y="1158006"/>
                  <a:pt x="1350845" y="1033979"/>
                  <a:pt x="1503842" y="1033979"/>
                </a:cubicBezTo>
                <a:close/>
                <a:moveTo>
                  <a:pt x="4570887" y="1033978"/>
                </a:moveTo>
                <a:cubicBezTo>
                  <a:pt x="4723883" y="1033978"/>
                  <a:pt x="4847911" y="1158006"/>
                  <a:pt x="4847911" y="1311002"/>
                </a:cubicBezTo>
                <a:cubicBezTo>
                  <a:pt x="4847911" y="2643353"/>
                  <a:pt x="4847910" y="3975705"/>
                  <a:pt x="4847910" y="5308056"/>
                </a:cubicBezTo>
                <a:cubicBezTo>
                  <a:pt x="4847910" y="5461052"/>
                  <a:pt x="4723882" y="5585080"/>
                  <a:pt x="4570886" y="5585080"/>
                </a:cubicBezTo>
                <a:lnTo>
                  <a:pt x="4570887" y="5585079"/>
                </a:lnTo>
                <a:cubicBezTo>
                  <a:pt x="4417891" y="5585079"/>
                  <a:pt x="4293863" y="5461051"/>
                  <a:pt x="4293863" y="5308055"/>
                </a:cubicBezTo>
                <a:lnTo>
                  <a:pt x="4293863" y="1311002"/>
                </a:lnTo>
                <a:cubicBezTo>
                  <a:pt x="4293863" y="1158006"/>
                  <a:pt x="4417891" y="1033978"/>
                  <a:pt x="4570887" y="1033978"/>
                </a:cubicBezTo>
                <a:close/>
                <a:moveTo>
                  <a:pt x="3344069" y="915542"/>
                </a:moveTo>
                <a:cubicBezTo>
                  <a:pt x="3497065" y="915542"/>
                  <a:pt x="3621093" y="1039570"/>
                  <a:pt x="3621093" y="1192566"/>
                </a:cubicBezTo>
                <a:cubicBezTo>
                  <a:pt x="3621093" y="2524917"/>
                  <a:pt x="3621092" y="3857269"/>
                  <a:pt x="3621092" y="5189620"/>
                </a:cubicBezTo>
                <a:cubicBezTo>
                  <a:pt x="3621092" y="5342616"/>
                  <a:pt x="3497064" y="5466644"/>
                  <a:pt x="3344068" y="5466644"/>
                </a:cubicBezTo>
                <a:lnTo>
                  <a:pt x="3344069" y="5466643"/>
                </a:lnTo>
                <a:cubicBezTo>
                  <a:pt x="3191073" y="5466643"/>
                  <a:pt x="3067045" y="5342615"/>
                  <a:pt x="3067045" y="5189619"/>
                </a:cubicBezTo>
                <a:lnTo>
                  <a:pt x="3067045" y="1192566"/>
                </a:lnTo>
                <a:cubicBezTo>
                  <a:pt x="3067045" y="1039570"/>
                  <a:pt x="3191073" y="915542"/>
                  <a:pt x="3344069" y="915542"/>
                </a:cubicBezTo>
                <a:close/>
                <a:moveTo>
                  <a:pt x="2730659" y="801099"/>
                </a:moveTo>
                <a:cubicBezTo>
                  <a:pt x="2883655" y="801099"/>
                  <a:pt x="3007683" y="925127"/>
                  <a:pt x="3007683" y="1078123"/>
                </a:cubicBezTo>
                <a:cubicBezTo>
                  <a:pt x="3007683" y="2677509"/>
                  <a:pt x="3007682" y="4276892"/>
                  <a:pt x="3007682" y="5876277"/>
                </a:cubicBezTo>
                <a:cubicBezTo>
                  <a:pt x="3007682" y="6029273"/>
                  <a:pt x="2883654" y="6153301"/>
                  <a:pt x="2730658" y="6153301"/>
                </a:cubicBezTo>
                <a:lnTo>
                  <a:pt x="2730659" y="6153300"/>
                </a:lnTo>
                <a:cubicBezTo>
                  <a:pt x="2577663" y="6153300"/>
                  <a:pt x="2453635" y="6029272"/>
                  <a:pt x="2453635" y="5876276"/>
                </a:cubicBezTo>
                <a:lnTo>
                  <a:pt x="2453635" y="1078123"/>
                </a:lnTo>
                <a:cubicBezTo>
                  <a:pt x="2453635" y="925127"/>
                  <a:pt x="2577663" y="801099"/>
                  <a:pt x="2730659" y="801099"/>
                </a:cubicBezTo>
                <a:close/>
                <a:moveTo>
                  <a:pt x="890432" y="573543"/>
                </a:moveTo>
                <a:cubicBezTo>
                  <a:pt x="1043428" y="573543"/>
                  <a:pt x="1167457" y="697571"/>
                  <a:pt x="1167457" y="850567"/>
                </a:cubicBezTo>
                <a:cubicBezTo>
                  <a:pt x="1167457" y="2182918"/>
                  <a:pt x="1167456" y="3515270"/>
                  <a:pt x="1167456" y="4847621"/>
                </a:cubicBezTo>
                <a:cubicBezTo>
                  <a:pt x="1167456" y="5000617"/>
                  <a:pt x="1043427" y="5124645"/>
                  <a:pt x="890432" y="5124645"/>
                </a:cubicBezTo>
                <a:lnTo>
                  <a:pt x="890432" y="5124644"/>
                </a:lnTo>
                <a:cubicBezTo>
                  <a:pt x="737436" y="5124644"/>
                  <a:pt x="613408" y="5000616"/>
                  <a:pt x="613408" y="4847620"/>
                </a:cubicBezTo>
                <a:lnTo>
                  <a:pt x="613408" y="850567"/>
                </a:lnTo>
                <a:cubicBezTo>
                  <a:pt x="613408" y="697571"/>
                  <a:pt x="737436" y="573543"/>
                  <a:pt x="890432" y="573543"/>
                </a:cubicBezTo>
                <a:close/>
                <a:moveTo>
                  <a:pt x="3957478" y="336673"/>
                </a:moveTo>
                <a:cubicBezTo>
                  <a:pt x="4110474" y="336673"/>
                  <a:pt x="4234502" y="460701"/>
                  <a:pt x="4234502" y="613697"/>
                </a:cubicBezTo>
                <a:cubicBezTo>
                  <a:pt x="4234502" y="1946048"/>
                  <a:pt x="4234501" y="3278400"/>
                  <a:pt x="4234501" y="4610751"/>
                </a:cubicBezTo>
                <a:cubicBezTo>
                  <a:pt x="4234501" y="4763747"/>
                  <a:pt x="4110473" y="4887775"/>
                  <a:pt x="3957477" y="4887775"/>
                </a:cubicBezTo>
                <a:lnTo>
                  <a:pt x="3957478" y="4887774"/>
                </a:lnTo>
                <a:cubicBezTo>
                  <a:pt x="3804482" y="4887774"/>
                  <a:pt x="3680454" y="4763746"/>
                  <a:pt x="3680454" y="4610750"/>
                </a:cubicBezTo>
                <a:lnTo>
                  <a:pt x="3680454" y="613697"/>
                </a:lnTo>
                <a:cubicBezTo>
                  <a:pt x="3680454" y="460701"/>
                  <a:pt x="3804482" y="336673"/>
                  <a:pt x="3957478" y="336673"/>
                </a:cubicBezTo>
                <a:close/>
                <a:moveTo>
                  <a:pt x="2117250" y="0"/>
                </a:moveTo>
                <a:cubicBezTo>
                  <a:pt x="2270246" y="0"/>
                  <a:pt x="2394274" y="124028"/>
                  <a:pt x="2394274" y="277024"/>
                </a:cubicBezTo>
                <a:cubicBezTo>
                  <a:pt x="2394274" y="1800556"/>
                  <a:pt x="2394273" y="3324089"/>
                  <a:pt x="2394273" y="4847621"/>
                </a:cubicBezTo>
                <a:cubicBezTo>
                  <a:pt x="2394273" y="5000617"/>
                  <a:pt x="2270245" y="5124645"/>
                  <a:pt x="2117249" y="5124645"/>
                </a:cubicBezTo>
                <a:lnTo>
                  <a:pt x="2117250" y="5124644"/>
                </a:lnTo>
                <a:cubicBezTo>
                  <a:pt x="1964254" y="5124644"/>
                  <a:pt x="1840226" y="5000616"/>
                  <a:pt x="1840226" y="4847620"/>
                </a:cubicBezTo>
                <a:lnTo>
                  <a:pt x="1840226" y="277024"/>
                </a:lnTo>
                <a:cubicBezTo>
                  <a:pt x="1840226" y="124028"/>
                  <a:pt x="1964254" y="0"/>
                  <a:pt x="21172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5645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2C8F2A19-0481-42EC-8711-13D61462C6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78715" y="796185"/>
            <a:ext cx="2537413" cy="2537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4F5349-2E30-401F-B9C1-46BF8D0B65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86895" y="796184"/>
            <a:ext cx="2537413" cy="2537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E482DC4-A701-4139-B5FE-79D5A7B57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2355" y="3523588"/>
            <a:ext cx="2537413" cy="2537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5E13B691-EF9B-4638-8069-EDA1620D87C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70535" y="3523587"/>
            <a:ext cx="2537413" cy="2537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7746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15592" y="6400892"/>
            <a:ext cx="264527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b="0" i="0" dirty="0">
                <a:solidFill>
                  <a:schemeClr val="bg1"/>
                </a:solidFill>
                <a:effectLst/>
                <a:latin typeface="+mn-lt"/>
              </a:rPr>
              <a:t>© 2018 </a:t>
            </a:r>
            <a:r>
              <a:rPr lang="en-US" sz="900" b="1" i="0" dirty="0">
                <a:solidFill>
                  <a:schemeClr val="bg1"/>
                </a:solidFill>
                <a:effectLst/>
                <a:latin typeface="+mj-lt"/>
              </a:rPr>
              <a:t>Slidefabric.com</a:t>
            </a:r>
            <a:r>
              <a:rPr lang="en-US" sz="900" b="0" i="0" dirty="0">
                <a:solidFill>
                  <a:schemeClr val="bg1"/>
                </a:solidFill>
                <a:effectLst/>
                <a:latin typeface="+mj-lt"/>
              </a:rPr>
              <a:t> All rights reserved.</a:t>
            </a:r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1459134" y="6331642"/>
            <a:ext cx="4828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FF971EA-3A6D-44E0-AE21-1C9457776B3F}" type="slidenum">
              <a:rPr lang="en-US" sz="1800" smtClean="0">
                <a:solidFill>
                  <a:schemeClr val="bg1"/>
                </a:solidFill>
                <a:latin typeface="+mj-lt"/>
              </a:rPr>
              <a:pPr algn="ctr"/>
              <a:t>‹#›</a:t>
            </a:fld>
            <a:endParaRPr lang="en-US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/>
          <p:cNvSpPr/>
          <p:nvPr userDrawn="1"/>
        </p:nvSpPr>
        <p:spPr>
          <a:xfrm rot="900000">
            <a:off x="11338841" y="6154604"/>
            <a:ext cx="723409" cy="723409"/>
          </a:xfrm>
          <a:prstGeom prst="rect">
            <a:avLst/>
          </a:prstGeom>
          <a:noFill/>
          <a:ln w="571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814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7F79A93-8496-4002-9777-175A4D2594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0877" y="352350"/>
            <a:ext cx="5461320" cy="6153301"/>
          </a:xfrm>
          <a:custGeom>
            <a:avLst/>
            <a:gdLst>
              <a:gd name="connsiteX0" fmla="*/ 5184296 w 5461320"/>
              <a:gd name="connsiteY0" fmla="*/ 1622161 h 6153301"/>
              <a:gd name="connsiteX1" fmla="*/ 5461320 w 5461320"/>
              <a:gd name="connsiteY1" fmla="*/ 1899184 h 6153301"/>
              <a:gd name="connsiteX2" fmla="*/ 5461319 w 5461320"/>
              <a:gd name="connsiteY2" fmla="*/ 4483002 h 6153301"/>
              <a:gd name="connsiteX3" fmla="*/ 5184295 w 5461320"/>
              <a:gd name="connsiteY3" fmla="*/ 4760026 h 6153301"/>
              <a:gd name="connsiteX4" fmla="*/ 5184296 w 5461320"/>
              <a:gd name="connsiteY4" fmla="*/ 4760025 h 6153301"/>
              <a:gd name="connsiteX5" fmla="*/ 4907272 w 5461320"/>
              <a:gd name="connsiteY5" fmla="*/ 4483001 h 6153301"/>
              <a:gd name="connsiteX6" fmla="*/ 4907272 w 5461320"/>
              <a:gd name="connsiteY6" fmla="*/ 1899184 h 6153301"/>
              <a:gd name="connsiteX7" fmla="*/ 5184296 w 5461320"/>
              <a:gd name="connsiteY7" fmla="*/ 1622161 h 6153301"/>
              <a:gd name="connsiteX8" fmla="*/ 277024 w 5461320"/>
              <a:gd name="connsiteY8" fmla="*/ 1321416 h 6153301"/>
              <a:gd name="connsiteX9" fmla="*/ 554048 w 5461320"/>
              <a:gd name="connsiteY9" fmla="*/ 1598440 h 6153301"/>
              <a:gd name="connsiteX10" fmla="*/ 554047 w 5461320"/>
              <a:gd name="connsiteY10" fmla="*/ 4182257 h 6153301"/>
              <a:gd name="connsiteX11" fmla="*/ 277023 w 5461320"/>
              <a:gd name="connsiteY11" fmla="*/ 4459281 h 6153301"/>
              <a:gd name="connsiteX12" fmla="*/ 277024 w 5461320"/>
              <a:gd name="connsiteY12" fmla="*/ 4459280 h 6153301"/>
              <a:gd name="connsiteX13" fmla="*/ 0 w 5461320"/>
              <a:gd name="connsiteY13" fmla="*/ 4182256 h 6153301"/>
              <a:gd name="connsiteX14" fmla="*/ 0 w 5461320"/>
              <a:gd name="connsiteY14" fmla="*/ 1598440 h 6153301"/>
              <a:gd name="connsiteX15" fmla="*/ 277024 w 5461320"/>
              <a:gd name="connsiteY15" fmla="*/ 1321416 h 6153301"/>
              <a:gd name="connsiteX16" fmla="*/ 1503842 w 5461320"/>
              <a:gd name="connsiteY16" fmla="*/ 1033979 h 6153301"/>
              <a:gd name="connsiteX17" fmla="*/ 1780865 w 5461320"/>
              <a:gd name="connsiteY17" fmla="*/ 1311002 h 6153301"/>
              <a:gd name="connsiteX18" fmla="*/ 1780864 w 5461320"/>
              <a:gd name="connsiteY18" fmla="*/ 5308056 h 6153301"/>
              <a:gd name="connsiteX19" fmla="*/ 1503840 w 5461320"/>
              <a:gd name="connsiteY19" fmla="*/ 5585080 h 6153301"/>
              <a:gd name="connsiteX20" fmla="*/ 1503842 w 5461320"/>
              <a:gd name="connsiteY20" fmla="*/ 5585079 h 6153301"/>
              <a:gd name="connsiteX21" fmla="*/ 1226818 w 5461320"/>
              <a:gd name="connsiteY21" fmla="*/ 5308055 h 6153301"/>
              <a:gd name="connsiteX22" fmla="*/ 1226818 w 5461320"/>
              <a:gd name="connsiteY22" fmla="*/ 1311002 h 6153301"/>
              <a:gd name="connsiteX23" fmla="*/ 1503842 w 5461320"/>
              <a:gd name="connsiteY23" fmla="*/ 1033979 h 6153301"/>
              <a:gd name="connsiteX24" fmla="*/ 4570887 w 5461320"/>
              <a:gd name="connsiteY24" fmla="*/ 1033978 h 6153301"/>
              <a:gd name="connsiteX25" fmla="*/ 4847911 w 5461320"/>
              <a:gd name="connsiteY25" fmla="*/ 1311002 h 6153301"/>
              <a:gd name="connsiteX26" fmla="*/ 4847910 w 5461320"/>
              <a:gd name="connsiteY26" fmla="*/ 5308056 h 6153301"/>
              <a:gd name="connsiteX27" fmla="*/ 4570886 w 5461320"/>
              <a:gd name="connsiteY27" fmla="*/ 5585080 h 6153301"/>
              <a:gd name="connsiteX28" fmla="*/ 4570887 w 5461320"/>
              <a:gd name="connsiteY28" fmla="*/ 5585079 h 6153301"/>
              <a:gd name="connsiteX29" fmla="*/ 4293863 w 5461320"/>
              <a:gd name="connsiteY29" fmla="*/ 5308055 h 6153301"/>
              <a:gd name="connsiteX30" fmla="*/ 4293863 w 5461320"/>
              <a:gd name="connsiteY30" fmla="*/ 1311002 h 6153301"/>
              <a:gd name="connsiteX31" fmla="*/ 4570887 w 5461320"/>
              <a:gd name="connsiteY31" fmla="*/ 1033978 h 6153301"/>
              <a:gd name="connsiteX32" fmla="*/ 3344069 w 5461320"/>
              <a:gd name="connsiteY32" fmla="*/ 915542 h 6153301"/>
              <a:gd name="connsiteX33" fmla="*/ 3621093 w 5461320"/>
              <a:gd name="connsiteY33" fmla="*/ 1192566 h 6153301"/>
              <a:gd name="connsiteX34" fmla="*/ 3621092 w 5461320"/>
              <a:gd name="connsiteY34" fmla="*/ 5189620 h 6153301"/>
              <a:gd name="connsiteX35" fmla="*/ 3344068 w 5461320"/>
              <a:gd name="connsiteY35" fmla="*/ 5466644 h 6153301"/>
              <a:gd name="connsiteX36" fmla="*/ 3344069 w 5461320"/>
              <a:gd name="connsiteY36" fmla="*/ 5466643 h 6153301"/>
              <a:gd name="connsiteX37" fmla="*/ 3067045 w 5461320"/>
              <a:gd name="connsiteY37" fmla="*/ 5189619 h 6153301"/>
              <a:gd name="connsiteX38" fmla="*/ 3067045 w 5461320"/>
              <a:gd name="connsiteY38" fmla="*/ 1192566 h 6153301"/>
              <a:gd name="connsiteX39" fmla="*/ 3344069 w 5461320"/>
              <a:gd name="connsiteY39" fmla="*/ 915542 h 6153301"/>
              <a:gd name="connsiteX40" fmla="*/ 2730659 w 5461320"/>
              <a:gd name="connsiteY40" fmla="*/ 801099 h 6153301"/>
              <a:gd name="connsiteX41" fmla="*/ 3007683 w 5461320"/>
              <a:gd name="connsiteY41" fmla="*/ 1078123 h 6153301"/>
              <a:gd name="connsiteX42" fmla="*/ 3007682 w 5461320"/>
              <a:gd name="connsiteY42" fmla="*/ 5876277 h 6153301"/>
              <a:gd name="connsiteX43" fmla="*/ 2730658 w 5461320"/>
              <a:gd name="connsiteY43" fmla="*/ 6153301 h 6153301"/>
              <a:gd name="connsiteX44" fmla="*/ 2730659 w 5461320"/>
              <a:gd name="connsiteY44" fmla="*/ 6153300 h 6153301"/>
              <a:gd name="connsiteX45" fmla="*/ 2453635 w 5461320"/>
              <a:gd name="connsiteY45" fmla="*/ 5876276 h 6153301"/>
              <a:gd name="connsiteX46" fmla="*/ 2453635 w 5461320"/>
              <a:gd name="connsiteY46" fmla="*/ 1078123 h 6153301"/>
              <a:gd name="connsiteX47" fmla="*/ 2730659 w 5461320"/>
              <a:gd name="connsiteY47" fmla="*/ 801099 h 6153301"/>
              <a:gd name="connsiteX48" fmla="*/ 890432 w 5461320"/>
              <a:gd name="connsiteY48" fmla="*/ 573543 h 6153301"/>
              <a:gd name="connsiteX49" fmla="*/ 1167457 w 5461320"/>
              <a:gd name="connsiteY49" fmla="*/ 850567 h 6153301"/>
              <a:gd name="connsiteX50" fmla="*/ 1167456 w 5461320"/>
              <a:gd name="connsiteY50" fmla="*/ 4847621 h 6153301"/>
              <a:gd name="connsiteX51" fmla="*/ 890432 w 5461320"/>
              <a:gd name="connsiteY51" fmla="*/ 5124645 h 6153301"/>
              <a:gd name="connsiteX52" fmla="*/ 890432 w 5461320"/>
              <a:gd name="connsiteY52" fmla="*/ 5124644 h 6153301"/>
              <a:gd name="connsiteX53" fmla="*/ 613408 w 5461320"/>
              <a:gd name="connsiteY53" fmla="*/ 4847620 h 6153301"/>
              <a:gd name="connsiteX54" fmla="*/ 613408 w 5461320"/>
              <a:gd name="connsiteY54" fmla="*/ 850567 h 6153301"/>
              <a:gd name="connsiteX55" fmla="*/ 890432 w 5461320"/>
              <a:gd name="connsiteY55" fmla="*/ 573543 h 6153301"/>
              <a:gd name="connsiteX56" fmla="*/ 3957478 w 5461320"/>
              <a:gd name="connsiteY56" fmla="*/ 336673 h 6153301"/>
              <a:gd name="connsiteX57" fmla="*/ 4234502 w 5461320"/>
              <a:gd name="connsiteY57" fmla="*/ 613697 h 6153301"/>
              <a:gd name="connsiteX58" fmla="*/ 4234501 w 5461320"/>
              <a:gd name="connsiteY58" fmla="*/ 4610751 h 6153301"/>
              <a:gd name="connsiteX59" fmla="*/ 3957477 w 5461320"/>
              <a:gd name="connsiteY59" fmla="*/ 4887775 h 6153301"/>
              <a:gd name="connsiteX60" fmla="*/ 3957478 w 5461320"/>
              <a:gd name="connsiteY60" fmla="*/ 4887774 h 6153301"/>
              <a:gd name="connsiteX61" fmla="*/ 3680454 w 5461320"/>
              <a:gd name="connsiteY61" fmla="*/ 4610750 h 6153301"/>
              <a:gd name="connsiteX62" fmla="*/ 3680454 w 5461320"/>
              <a:gd name="connsiteY62" fmla="*/ 613697 h 6153301"/>
              <a:gd name="connsiteX63" fmla="*/ 3957478 w 5461320"/>
              <a:gd name="connsiteY63" fmla="*/ 336673 h 6153301"/>
              <a:gd name="connsiteX64" fmla="*/ 2117250 w 5461320"/>
              <a:gd name="connsiteY64" fmla="*/ 0 h 6153301"/>
              <a:gd name="connsiteX65" fmla="*/ 2394274 w 5461320"/>
              <a:gd name="connsiteY65" fmla="*/ 277024 h 6153301"/>
              <a:gd name="connsiteX66" fmla="*/ 2394273 w 5461320"/>
              <a:gd name="connsiteY66" fmla="*/ 4847621 h 6153301"/>
              <a:gd name="connsiteX67" fmla="*/ 2117249 w 5461320"/>
              <a:gd name="connsiteY67" fmla="*/ 5124645 h 6153301"/>
              <a:gd name="connsiteX68" fmla="*/ 2117250 w 5461320"/>
              <a:gd name="connsiteY68" fmla="*/ 5124644 h 6153301"/>
              <a:gd name="connsiteX69" fmla="*/ 1840226 w 5461320"/>
              <a:gd name="connsiteY69" fmla="*/ 4847620 h 6153301"/>
              <a:gd name="connsiteX70" fmla="*/ 1840226 w 5461320"/>
              <a:gd name="connsiteY70" fmla="*/ 277024 h 6153301"/>
              <a:gd name="connsiteX71" fmla="*/ 2117250 w 5461320"/>
              <a:gd name="connsiteY71" fmla="*/ 0 h 615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5461320" h="6153301">
                <a:moveTo>
                  <a:pt x="5184296" y="1622161"/>
                </a:moveTo>
                <a:cubicBezTo>
                  <a:pt x="5337292" y="1622161"/>
                  <a:pt x="5461320" y="1746188"/>
                  <a:pt x="5461320" y="1899184"/>
                </a:cubicBezTo>
                <a:cubicBezTo>
                  <a:pt x="5461320" y="2760457"/>
                  <a:pt x="5461319" y="3621729"/>
                  <a:pt x="5461319" y="4483002"/>
                </a:cubicBezTo>
                <a:cubicBezTo>
                  <a:pt x="5461319" y="4635998"/>
                  <a:pt x="5337291" y="4760026"/>
                  <a:pt x="5184295" y="4760026"/>
                </a:cubicBezTo>
                <a:lnTo>
                  <a:pt x="5184296" y="4760025"/>
                </a:lnTo>
                <a:cubicBezTo>
                  <a:pt x="5031300" y="4760025"/>
                  <a:pt x="4907272" y="4635997"/>
                  <a:pt x="4907272" y="4483001"/>
                </a:cubicBezTo>
                <a:lnTo>
                  <a:pt x="4907272" y="1899184"/>
                </a:lnTo>
                <a:cubicBezTo>
                  <a:pt x="4907272" y="1746188"/>
                  <a:pt x="5031300" y="1622161"/>
                  <a:pt x="5184296" y="1622161"/>
                </a:cubicBezTo>
                <a:close/>
                <a:moveTo>
                  <a:pt x="277024" y="1321416"/>
                </a:moveTo>
                <a:cubicBezTo>
                  <a:pt x="430019" y="1321416"/>
                  <a:pt x="554048" y="1445444"/>
                  <a:pt x="554048" y="1598440"/>
                </a:cubicBezTo>
                <a:cubicBezTo>
                  <a:pt x="554048" y="2459712"/>
                  <a:pt x="554047" y="3320984"/>
                  <a:pt x="554047" y="4182257"/>
                </a:cubicBezTo>
                <a:cubicBezTo>
                  <a:pt x="554047" y="4335253"/>
                  <a:pt x="430019" y="4459281"/>
                  <a:pt x="277023" y="4459281"/>
                </a:cubicBezTo>
                <a:lnTo>
                  <a:pt x="277024" y="4459280"/>
                </a:lnTo>
                <a:cubicBezTo>
                  <a:pt x="124028" y="4459280"/>
                  <a:pt x="0" y="4335252"/>
                  <a:pt x="0" y="4182256"/>
                </a:cubicBezTo>
                <a:lnTo>
                  <a:pt x="0" y="1598440"/>
                </a:lnTo>
                <a:cubicBezTo>
                  <a:pt x="0" y="1445444"/>
                  <a:pt x="124028" y="1321416"/>
                  <a:pt x="277024" y="1321416"/>
                </a:cubicBezTo>
                <a:close/>
                <a:moveTo>
                  <a:pt x="1503842" y="1033979"/>
                </a:moveTo>
                <a:cubicBezTo>
                  <a:pt x="1656837" y="1033979"/>
                  <a:pt x="1780865" y="1158006"/>
                  <a:pt x="1780865" y="1311002"/>
                </a:cubicBezTo>
                <a:cubicBezTo>
                  <a:pt x="1780865" y="2643353"/>
                  <a:pt x="1780864" y="3975705"/>
                  <a:pt x="1780864" y="5308056"/>
                </a:cubicBezTo>
                <a:cubicBezTo>
                  <a:pt x="1780864" y="5461052"/>
                  <a:pt x="1656836" y="5585080"/>
                  <a:pt x="1503840" y="5585080"/>
                </a:cubicBezTo>
                <a:lnTo>
                  <a:pt x="1503842" y="5585079"/>
                </a:lnTo>
                <a:cubicBezTo>
                  <a:pt x="1350845" y="5585079"/>
                  <a:pt x="1226818" y="5461051"/>
                  <a:pt x="1226818" y="5308055"/>
                </a:cubicBezTo>
                <a:lnTo>
                  <a:pt x="1226818" y="1311002"/>
                </a:lnTo>
                <a:cubicBezTo>
                  <a:pt x="1226818" y="1158006"/>
                  <a:pt x="1350845" y="1033979"/>
                  <a:pt x="1503842" y="1033979"/>
                </a:cubicBezTo>
                <a:close/>
                <a:moveTo>
                  <a:pt x="4570887" y="1033978"/>
                </a:moveTo>
                <a:cubicBezTo>
                  <a:pt x="4723883" y="1033978"/>
                  <a:pt x="4847911" y="1158006"/>
                  <a:pt x="4847911" y="1311002"/>
                </a:cubicBezTo>
                <a:cubicBezTo>
                  <a:pt x="4847911" y="2643353"/>
                  <a:pt x="4847910" y="3975705"/>
                  <a:pt x="4847910" y="5308056"/>
                </a:cubicBezTo>
                <a:cubicBezTo>
                  <a:pt x="4847910" y="5461052"/>
                  <a:pt x="4723882" y="5585080"/>
                  <a:pt x="4570886" y="5585080"/>
                </a:cubicBezTo>
                <a:lnTo>
                  <a:pt x="4570887" y="5585079"/>
                </a:lnTo>
                <a:cubicBezTo>
                  <a:pt x="4417891" y="5585079"/>
                  <a:pt x="4293863" y="5461051"/>
                  <a:pt x="4293863" y="5308055"/>
                </a:cubicBezTo>
                <a:lnTo>
                  <a:pt x="4293863" y="1311002"/>
                </a:lnTo>
                <a:cubicBezTo>
                  <a:pt x="4293863" y="1158006"/>
                  <a:pt x="4417891" y="1033978"/>
                  <a:pt x="4570887" y="1033978"/>
                </a:cubicBezTo>
                <a:close/>
                <a:moveTo>
                  <a:pt x="3344069" y="915542"/>
                </a:moveTo>
                <a:cubicBezTo>
                  <a:pt x="3497065" y="915542"/>
                  <a:pt x="3621093" y="1039570"/>
                  <a:pt x="3621093" y="1192566"/>
                </a:cubicBezTo>
                <a:cubicBezTo>
                  <a:pt x="3621093" y="2524917"/>
                  <a:pt x="3621092" y="3857269"/>
                  <a:pt x="3621092" y="5189620"/>
                </a:cubicBezTo>
                <a:cubicBezTo>
                  <a:pt x="3621092" y="5342616"/>
                  <a:pt x="3497064" y="5466644"/>
                  <a:pt x="3344068" y="5466644"/>
                </a:cubicBezTo>
                <a:lnTo>
                  <a:pt x="3344069" y="5466643"/>
                </a:lnTo>
                <a:cubicBezTo>
                  <a:pt x="3191073" y="5466643"/>
                  <a:pt x="3067045" y="5342615"/>
                  <a:pt x="3067045" y="5189619"/>
                </a:cubicBezTo>
                <a:lnTo>
                  <a:pt x="3067045" y="1192566"/>
                </a:lnTo>
                <a:cubicBezTo>
                  <a:pt x="3067045" y="1039570"/>
                  <a:pt x="3191073" y="915542"/>
                  <a:pt x="3344069" y="915542"/>
                </a:cubicBezTo>
                <a:close/>
                <a:moveTo>
                  <a:pt x="2730659" y="801099"/>
                </a:moveTo>
                <a:cubicBezTo>
                  <a:pt x="2883655" y="801099"/>
                  <a:pt x="3007683" y="925127"/>
                  <a:pt x="3007683" y="1078123"/>
                </a:cubicBezTo>
                <a:cubicBezTo>
                  <a:pt x="3007683" y="2677509"/>
                  <a:pt x="3007682" y="4276892"/>
                  <a:pt x="3007682" y="5876277"/>
                </a:cubicBezTo>
                <a:cubicBezTo>
                  <a:pt x="3007682" y="6029273"/>
                  <a:pt x="2883654" y="6153301"/>
                  <a:pt x="2730658" y="6153301"/>
                </a:cubicBezTo>
                <a:lnTo>
                  <a:pt x="2730659" y="6153300"/>
                </a:lnTo>
                <a:cubicBezTo>
                  <a:pt x="2577663" y="6153300"/>
                  <a:pt x="2453635" y="6029272"/>
                  <a:pt x="2453635" y="5876276"/>
                </a:cubicBezTo>
                <a:lnTo>
                  <a:pt x="2453635" y="1078123"/>
                </a:lnTo>
                <a:cubicBezTo>
                  <a:pt x="2453635" y="925127"/>
                  <a:pt x="2577663" y="801099"/>
                  <a:pt x="2730659" y="801099"/>
                </a:cubicBezTo>
                <a:close/>
                <a:moveTo>
                  <a:pt x="890432" y="573543"/>
                </a:moveTo>
                <a:cubicBezTo>
                  <a:pt x="1043428" y="573543"/>
                  <a:pt x="1167457" y="697571"/>
                  <a:pt x="1167457" y="850567"/>
                </a:cubicBezTo>
                <a:cubicBezTo>
                  <a:pt x="1167457" y="2182918"/>
                  <a:pt x="1167456" y="3515270"/>
                  <a:pt x="1167456" y="4847621"/>
                </a:cubicBezTo>
                <a:cubicBezTo>
                  <a:pt x="1167456" y="5000617"/>
                  <a:pt x="1043427" y="5124645"/>
                  <a:pt x="890432" y="5124645"/>
                </a:cubicBezTo>
                <a:lnTo>
                  <a:pt x="890432" y="5124644"/>
                </a:lnTo>
                <a:cubicBezTo>
                  <a:pt x="737436" y="5124644"/>
                  <a:pt x="613408" y="5000616"/>
                  <a:pt x="613408" y="4847620"/>
                </a:cubicBezTo>
                <a:lnTo>
                  <a:pt x="613408" y="850567"/>
                </a:lnTo>
                <a:cubicBezTo>
                  <a:pt x="613408" y="697571"/>
                  <a:pt x="737436" y="573543"/>
                  <a:pt x="890432" y="573543"/>
                </a:cubicBezTo>
                <a:close/>
                <a:moveTo>
                  <a:pt x="3957478" y="336673"/>
                </a:moveTo>
                <a:cubicBezTo>
                  <a:pt x="4110474" y="336673"/>
                  <a:pt x="4234502" y="460701"/>
                  <a:pt x="4234502" y="613697"/>
                </a:cubicBezTo>
                <a:cubicBezTo>
                  <a:pt x="4234502" y="1946048"/>
                  <a:pt x="4234501" y="3278400"/>
                  <a:pt x="4234501" y="4610751"/>
                </a:cubicBezTo>
                <a:cubicBezTo>
                  <a:pt x="4234501" y="4763747"/>
                  <a:pt x="4110473" y="4887775"/>
                  <a:pt x="3957477" y="4887775"/>
                </a:cubicBezTo>
                <a:lnTo>
                  <a:pt x="3957478" y="4887774"/>
                </a:lnTo>
                <a:cubicBezTo>
                  <a:pt x="3804482" y="4887774"/>
                  <a:pt x="3680454" y="4763746"/>
                  <a:pt x="3680454" y="4610750"/>
                </a:cubicBezTo>
                <a:lnTo>
                  <a:pt x="3680454" y="613697"/>
                </a:lnTo>
                <a:cubicBezTo>
                  <a:pt x="3680454" y="460701"/>
                  <a:pt x="3804482" y="336673"/>
                  <a:pt x="3957478" y="336673"/>
                </a:cubicBezTo>
                <a:close/>
                <a:moveTo>
                  <a:pt x="2117250" y="0"/>
                </a:moveTo>
                <a:cubicBezTo>
                  <a:pt x="2270246" y="0"/>
                  <a:pt x="2394274" y="124028"/>
                  <a:pt x="2394274" y="277024"/>
                </a:cubicBezTo>
                <a:cubicBezTo>
                  <a:pt x="2394274" y="1800556"/>
                  <a:pt x="2394273" y="3324089"/>
                  <a:pt x="2394273" y="4847621"/>
                </a:cubicBezTo>
                <a:cubicBezTo>
                  <a:pt x="2394273" y="5000617"/>
                  <a:pt x="2270245" y="5124645"/>
                  <a:pt x="2117249" y="5124645"/>
                </a:cubicBezTo>
                <a:lnTo>
                  <a:pt x="2117250" y="5124644"/>
                </a:lnTo>
                <a:cubicBezTo>
                  <a:pt x="1964254" y="5124644"/>
                  <a:pt x="1840226" y="5000616"/>
                  <a:pt x="1840226" y="4847620"/>
                </a:cubicBezTo>
                <a:lnTo>
                  <a:pt x="1840226" y="277024"/>
                </a:lnTo>
                <a:cubicBezTo>
                  <a:pt x="1840226" y="124028"/>
                  <a:pt x="1964254" y="0"/>
                  <a:pt x="21172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1125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2AB4931-FFCE-4925-9086-4B31EDA967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34015" y="0"/>
            <a:ext cx="2154936" cy="6858000"/>
          </a:xfrm>
          <a:custGeom>
            <a:avLst/>
            <a:gdLst>
              <a:gd name="connsiteX0" fmla="*/ 0 w 2154936"/>
              <a:gd name="connsiteY0" fmla="*/ 0 h 6858000"/>
              <a:gd name="connsiteX1" fmla="*/ 2154936 w 2154936"/>
              <a:gd name="connsiteY1" fmla="*/ 0 h 6858000"/>
              <a:gd name="connsiteX2" fmla="*/ 2154936 w 2154936"/>
              <a:gd name="connsiteY2" fmla="*/ 6858000 h 6858000"/>
              <a:gd name="connsiteX3" fmla="*/ 0 w 215493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4936" h="6858000">
                <a:moveTo>
                  <a:pt x="0" y="0"/>
                </a:moveTo>
                <a:lnTo>
                  <a:pt x="2154936" y="0"/>
                </a:lnTo>
                <a:lnTo>
                  <a:pt x="21549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outerShdw blurRad="673100" dist="355600" dir="1440000" algn="l" rotWithShape="0">
              <a:prstClr val="black">
                <a:alpha val="86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5BF6C55-BB6C-4996-8DB4-C43BD04D61D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79080" y="0"/>
            <a:ext cx="2154936" cy="6858000"/>
          </a:xfrm>
          <a:custGeom>
            <a:avLst/>
            <a:gdLst>
              <a:gd name="connsiteX0" fmla="*/ 0 w 2154936"/>
              <a:gd name="connsiteY0" fmla="*/ 0 h 6858000"/>
              <a:gd name="connsiteX1" fmla="*/ 2154936 w 2154936"/>
              <a:gd name="connsiteY1" fmla="*/ 0 h 6858000"/>
              <a:gd name="connsiteX2" fmla="*/ 2154936 w 2154936"/>
              <a:gd name="connsiteY2" fmla="*/ 6858000 h 6858000"/>
              <a:gd name="connsiteX3" fmla="*/ 0 w 215493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4936" h="6858000">
                <a:moveTo>
                  <a:pt x="0" y="0"/>
                </a:moveTo>
                <a:lnTo>
                  <a:pt x="2154936" y="0"/>
                </a:lnTo>
                <a:lnTo>
                  <a:pt x="21549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outerShdw blurRad="673100" dist="355600" dir="1440000" algn="l" rotWithShape="0">
              <a:prstClr val="black">
                <a:alpha val="86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6705425-B018-4AF8-B9ED-A11FBA2853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24144" y="-1"/>
            <a:ext cx="2154936" cy="6858000"/>
          </a:xfrm>
          <a:custGeom>
            <a:avLst/>
            <a:gdLst>
              <a:gd name="connsiteX0" fmla="*/ 0 w 2154936"/>
              <a:gd name="connsiteY0" fmla="*/ 0 h 6858000"/>
              <a:gd name="connsiteX1" fmla="*/ 2154936 w 2154936"/>
              <a:gd name="connsiteY1" fmla="*/ 0 h 6858000"/>
              <a:gd name="connsiteX2" fmla="*/ 2154936 w 2154936"/>
              <a:gd name="connsiteY2" fmla="*/ 6858000 h 6858000"/>
              <a:gd name="connsiteX3" fmla="*/ 0 w 215493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4936" h="6858000">
                <a:moveTo>
                  <a:pt x="0" y="0"/>
                </a:moveTo>
                <a:lnTo>
                  <a:pt x="2154936" y="0"/>
                </a:lnTo>
                <a:lnTo>
                  <a:pt x="21549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outerShdw blurRad="673100" dist="355600" dir="1440000" algn="l" rotWithShape="0">
              <a:prstClr val="black">
                <a:alpha val="86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1307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08D62A35-2A0F-4A5D-A694-D7D9AF35EEC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78608" y="0"/>
            <a:ext cx="9613392" cy="6858000"/>
          </a:xfrm>
          <a:custGeom>
            <a:avLst/>
            <a:gdLst>
              <a:gd name="connsiteX0" fmla="*/ 6583680 w 9613392"/>
              <a:gd name="connsiteY0" fmla="*/ 0 h 6858000"/>
              <a:gd name="connsiteX1" fmla="*/ 6601968 w 9613392"/>
              <a:gd name="connsiteY1" fmla="*/ 0 h 6858000"/>
              <a:gd name="connsiteX2" fmla="*/ 9613392 w 9613392"/>
              <a:gd name="connsiteY2" fmla="*/ 0 h 6858000"/>
              <a:gd name="connsiteX3" fmla="*/ 9613392 w 9613392"/>
              <a:gd name="connsiteY3" fmla="*/ 6858000 h 6858000"/>
              <a:gd name="connsiteX4" fmla="*/ 6601968 w 9613392"/>
              <a:gd name="connsiteY4" fmla="*/ 6858000 h 6858000"/>
              <a:gd name="connsiteX5" fmla="*/ 6583680 w 9613392"/>
              <a:gd name="connsiteY5" fmla="*/ 6858000 h 6858000"/>
              <a:gd name="connsiteX6" fmla="*/ 0 w 9613392"/>
              <a:gd name="connsiteY6" fmla="*/ 6858000 h 6858000"/>
              <a:gd name="connsiteX7" fmla="*/ 6583680 w 9613392"/>
              <a:gd name="connsiteY7" fmla="*/ 189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13392" h="6858000">
                <a:moveTo>
                  <a:pt x="6583680" y="0"/>
                </a:moveTo>
                <a:lnTo>
                  <a:pt x="6601968" y="0"/>
                </a:lnTo>
                <a:lnTo>
                  <a:pt x="9613392" y="0"/>
                </a:lnTo>
                <a:lnTo>
                  <a:pt x="9613392" y="6858000"/>
                </a:lnTo>
                <a:lnTo>
                  <a:pt x="6601968" y="6858000"/>
                </a:lnTo>
                <a:lnTo>
                  <a:pt x="6583680" y="6858000"/>
                </a:lnTo>
                <a:lnTo>
                  <a:pt x="0" y="6858000"/>
                </a:lnTo>
                <a:lnTo>
                  <a:pt x="6583680" y="1899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3606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EA2761A-BD3C-4C66-B90B-2726F8D215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24127" y="-1"/>
            <a:ext cx="4754880" cy="6858000"/>
          </a:xfrm>
          <a:custGeom>
            <a:avLst/>
            <a:gdLst>
              <a:gd name="connsiteX0" fmla="*/ 0 w 4754880"/>
              <a:gd name="connsiteY0" fmla="*/ 0 h 6858000"/>
              <a:gd name="connsiteX1" fmla="*/ 4754880 w 4754880"/>
              <a:gd name="connsiteY1" fmla="*/ 0 h 6858000"/>
              <a:gd name="connsiteX2" fmla="*/ 4754880 w 4754880"/>
              <a:gd name="connsiteY2" fmla="*/ 6858000 h 6858000"/>
              <a:gd name="connsiteX3" fmla="*/ 0 w 475488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54880" h="6858000">
                <a:moveTo>
                  <a:pt x="0" y="0"/>
                </a:moveTo>
                <a:lnTo>
                  <a:pt x="4754880" y="0"/>
                </a:lnTo>
                <a:lnTo>
                  <a:pt x="475488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5956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EA2761A-BD3C-4C66-B90B-2726F8D215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4754880"/>
              <a:gd name="connsiteY0" fmla="*/ 0 h 6858000"/>
              <a:gd name="connsiteX1" fmla="*/ 4754880 w 4754880"/>
              <a:gd name="connsiteY1" fmla="*/ 0 h 6858000"/>
              <a:gd name="connsiteX2" fmla="*/ 4754880 w 4754880"/>
              <a:gd name="connsiteY2" fmla="*/ 6858000 h 6858000"/>
              <a:gd name="connsiteX3" fmla="*/ 0 w 475488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54880" h="6858000">
                <a:moveTo>
                  <a:pt x="0" y="0"/>
                </a:moveTo>
                <a:lnTo>
                  <a:pt x="4754880" y="0"/>
                </a:lnTo>
                <a:lnTo>
                  <a:pt x="475488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3814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926CFFD-6662-4B6E-9FCA-7CF2A318F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2176272"/>
          </a:xfrm>
          <a:custGeom>
            <a:avLst/>
            <a:gdLst>
              <a:gd name="connsiteX0" fmla="*/ 0 w 12192000"/>
              <a:gd name="connsiteY0" fmla="*/ 0 h 2176272"/>
              <a:gd name="connsiteX1" fmla="*/ 12192000 w 12192000"/>
              <a:gd name="connsiteY1" fmla="*/ 0 h 2176272"/>
              <a:gd name="connsiteX2" fmla="*/ 12192000 w 12192000"/>
              <a:gd name="connsiteY2" fmla="*/ 2176272 h 2176272"/>
              <a:gd name="connsiteX3" fmla="*/ 0 w 12192000"/>
              <a:gd name="connsiteY3" fmla="*/ 2176272 h 2176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176272">
                <a:moveTo>
                  <a:pt x="0" y="0"/>
                </a:moveTo>
                <a:lnTo>
                  <a:pt x="12192000" y="0"/>
                </a:lnTo>
                <a:lnTo>
                  <a:pt x="12192000" y="2176272"/>
                </a:lnTo>
                <a:lnTo>
                  <a:pt x="0" y="217627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2253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926CFFD-6662-4B6E-9FCA-7CF2A318F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"/>
            <a:ext cx="12192000" cy="6858001"/>
          </a:xfrm>
          <a:custGeom>
            <a:avLst/>
            <a:gdLst>
              <a:gd name="connsiteX0" fmla="*/ 0 w 12192000"/>
              <a:gd name="connsiteY0" fmla="*/ 0 h 2176272"/>
              <a:gd name="connsiteX1" fmla="*/ 12192000 w 12192000"/>
              <a:gd name="connsiteY1" fmla="*/ 0 h 2176272"/>
              <a:gd name="connsiteX2" fmla="*/ 12192000 w 12192000"/>
              <a:gd name="connsiteY2" fmla="*/ 2176272 h 2176272"/>
              <a:gd name="connsiteX3" fmla="*/ 0 w 12192000"/>
              <a:gd name="connsiteY3" fmla="*/ 2176272 h 2176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176272">
                <a:moveTo>
                  <a:pt x="0" y="0"/>
                </a:moveTo>
                <a:lnTo>
                  <a:pt x="12192000" y="0"/>
                </a:lnTo>
                <a:lnTo>
                  <a:pt x="12192000" y="2176272"/>
                </a:lnTo>
                <a:lnTo>
                  <a:pt x="0" y="217627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093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080C077-92A2-429D-99D8-399FFD556D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645331" y="3575893"/>
            <a:ext cx="3290662" cy="3290663"/>
          </a:xfrm>
          <a:custGeom>
            <a:avLst/>
            <a:gdLst>
              <a:gd name="connsiteX0" fmla="*/ 1645330 w 3290662"/>
              <a:gd name="connsiteY0" fmla="*/ 0 h 3290663"/>
              <a:gd name="connsiteX1" fmla="*/ 1949228 w 3290662"/>
              <a:gd name="connsiteY1" fmla="*/ 125879 h 3290663"/>
              <a:gd name="connsiteX2" fmla="*/ 3164784 w 3290662"/>
              <a:gd name="connsiteY2" fmla="*/ 1341435 h 3290663"/>
              <a:gd name="connsiteX3" fmla="*/ 3164784 w 3290662"/>
              <a:gd name="connsiteY3" fmla="*/ 1949230 h 3290663"/>
              <a:gd name="connsiteX4" fmla="*/ 1949229 w 3290662"/>
              <a:gd name="connsiteY4" fmla="*/ 3164785 h 3290663"/>
              <a:gd name="connsiteX5" fmla="*/ 1341434 w 3290662"/>
              <a:gd name="connsiteY5" fmla="*/ 3164785 h 3290663"/>
              <a:gd name="connsiteX6" fmla="*/ 125878 w 3290662"/>
              <a:gd name="connsiteY6" fmla="*/ 1949229 h 3290663"/>
              <a:gd name="connsiteX7" fmla="*/ 125878 w 3290662"/>
              <a:gd name="connsiteY7" fmla="*/ 1341434 h 3290663"/>
              <a:gd name="connsiteX8" fmla="*/ 1341433 w 3290662"/>
              <a:gd name="connsiteY8" fmla="*/ 125879 h 3290663"/>
              <a:gd name="connsiteX9" fmla="*/ 1645330 w 3290662"/>
              <a:gd name="connsiteY9" fmla="*/ 0 h 329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90662" h="3290663">
                <a:moveTo>
                  <a:pt x="1645330" y="0"/>
                </a:moveTo>
                <a:cubicBezTo>
                  <a:pt x="1755320" y="0"/>
                  <a:pt x="1865309" y="41960"/>
                  <a:pt x="1949228" y="125879"/>
                </a:cubicBezTo>
                <a:lnTo>
                  <a:pt x="3164784" y="1341435"/>
                </a:lnTo>
                <a:cubicBezTo>
                  <a:pt x="3332622" y="1509273"/>
                  <a:pt x="3332622" y="1781392"/>
                  <a:pt x="3164784" y="1949230"/>
                </a:cubicBezTo>
                <a:lnTo>
                  <a:pt x="1949229" y="3164785"/>
                </a:lnTo>
                <a:cubicBezTo>
                  <a:pt x="1781391" y="3332623"/>
                  <a:pt x="1509272" y="3332623"/>
                  <a:pt x="1341434" y="3164785"/>
                </a:cubicBezTo>
                <a:lnTo>
                  <a:pt x="125878" y="1949229"/>
                </a:lnTo>
                <a:cubicBezTo>
                  <a:pt x="-41960" y="1781391"/>
                  <a:pt x="-41960" y="1509272"/>
                  <a:pt x="125878" y="1341434"/>
                </a:cubicBezTo>
                <a:lnTo>
                  <a:pt x="1341433" y="125879"/>
                </a:lnTo>
                <a:cubicBezTo>
                  <a:pt x="1425352" y="41960"/>
                  <a:pt x="1535341" y="0"/>
                  <a:pt x="164533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4FC82BA-15D1-4111-9174-AEA7497BB6E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524590" y="4520771"/>
            <a:ext cx="3290662" cy="3290663"/>
          </a:xfrm>
          <a:custGeom>
            <a:avLst/>
            <a:gdLst>
              <a:gd name="connsiteX0" fmla="*/ 1645331 w 3290662"/>
              <a:gd name="connsiteY0" fmla="*/ 0 h 3290663"/>
              <a:gd name="connsiteX1" fmla="*/ 1949228 w 3290662"/>
              <a:gd name="connsiteY1" fmla="*/ 125879 h 3290663"/>
              <a:gd name="connsiteX2" fmla="*/ 3164784 w 3290662"/>
              <a:gd name="connsiteY2" fmla="*/ 1341435 h 3290663"/>
              <a:gd name="connsiteX3" fmla="*/ 3164784 w 3290662"/>
              <a:gd name="connsiteY3" fmla="*/ 1949230 h 3290663"/>
              <a:gd name="connsiteX4" fmla="*/ 1949229 w 3290662"/>
              <a:gd name="connsiteY4" fmla="*/ 3164785 h 3290663"/>
              <a:gd name="connsiteX5" fmla="*/ 1341434 w 3290662"/>
              <a:gd name="connsiteY5" fmla="*/ 3164785 h 3290663"/>
              <a:gd name="connsiteX6" fmla="*/ 125878 w 3290662"/>
              <a:gd name="connsiteY6" fmla="*/ 1949229 h 3290663"/>
              <a:gd name="connsiteX7" fmla="*/ 125878 w 3290662"/>
              <a:gd name="connsiteY7" fmla="*/ 1341434 h 3290663"/>
              <a:gd name="connsiteX8" fmla="*/ 1341433 w 3290662"/>
              <a:gd name="connsiteY8" fmla="*/ 125879 h 3290663"/>
              <a:gd name="connsiteX9" fmla="*/ 1645331 w 3290662"/>
              <a:gd name="connsiteY9" fmla="*/ 0 h 329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90662" h="3290663">
                <a:moveTo>
                  <a:pt x="1645331" y="0"/>
                </a:moveTo>
                <a:cubicBezTo>
                  <a:pt x="1755320" y="0"/>
                  <a:pt x="1865309" y="41960"/>
                  <a:pt x="1949228" y="125879"/>
                </a:cubicBezTo>
                <a:lnTo>
                  <a:pt x="3164784" y="1341435"/>
                </a:lnTo>
                <a:cubicBezTo>
                  <a:pt x="3332622" y="1509274"/>
                  <a:pt x="3332622" y="1781392"/>
                  <a:pt x="3164784" y="1949230"/>
                </a:cubicBezTo>
                <a:lnTo>
                  <a:pt x="1949229" y="3164785"/>
                </a:lnTo>
                <a:cubicBezTo>
                  <a:pt x="1781391" y="3332623"/>
                  <a:pt x="1509272" y="3332623"/>
                  <a:pt x="1341434" y="3164785"/>
                </a:cubicBezTo>
                <a:lnTo>
                  <a:pt x="125878" y="1949229"/>
                </a:lnTo>
                <a:cubicBezTo>
                  <a:pt x="-41960" y="1781391"/>
                  <a:pt x="-41960" y="1509272"/>
                  <a:pt x="125878" y="1341434"/>
                </a:cubicBezTo>
                <a:lnTo>
                  <a:pt x="1341433" y="125879"/>
                </a:lnTo>
                <a:cubicBezTo>
                  <a:pt x="1425352" y="41960"/>
                  <a:pt x="1535341" y="0"/>
                  <a:pt x="164533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436E39-FD66-4D2C-8E53-DF0DDBF87B1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450669" y="3277188"/>
            <a:ext cx="3290662" cy="3290663"/>
          </a:xfrm>
          <a:custGeom>
            <a:avLst/>
            <a:gdLst>
              <a:gd name="connsiteX0" fmla="*/ 1645331 w 3290662"/>
              <a:gd name="connsiteY0" fmla="*/ 0 h 3290663"/>
              <a:gd name="connsiteX1" fmla="*/ 1949228 w 3290662"/>
              <a:gd name="connsiteY1" fmla="*/ 125879 h 3290663"/>
              <a:gd name="connsiteX2" fmla="*/ 3164784 w 3290662"/>
              <a:gd name="connsiteY2" fmla="*/ 1341435 h 3290663"/>
              <a:gd name="connsiteX3" fmla="*/ 3164784 w 3290662"/>
              <a:gd name="connsiteY3" fmla="*/ 1949230 h 3290663"/>
              <a:gd name="connsiteX4" fmla="*/ 1949229 w 3290662"/>
              <a:gd name="connsiteY4" fmla="*/ 3164785 h 3290663"/>
              <a:gd name="connsiteX5" fmla="*/ 1341434 w 3290662"/>
              <a:gd name="connsiteY5" fmla="*/ 3164785 h 3290663"/>
              <a:gd name="connsiteX6" fmla="*/ 125878 w 3290662"/>
              <a:gd name="connsiteY6" fmla="*/ 1949229 h 3290663"/>
              <a:gd name="connsiteX7" fmla="*/ 125878 w 3290662"/>
              <a:gd name="connsiteY7" fmla="*/ 1341434 h 3290663"/>
              <a:gd name="connsiteX8" fmla="*/ 1341433 w 3290662"/>
              <a:gd name="connsiteY8" fmla="*/ 125879 h 3290663"/>
              <a:gd name="connsiteX9" fmla="*/ 1645331 w 3290662"/>
              <a:gd name="connsiteY9" fmla="*/ 0 h 329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90662" h="3290663">
                <a:moveTo>
                  <a:pt x="1645331" y="0"/>
                </a:moveTo>
                <a:cubicBezTo>
                  <a:pt x="1755320" y="0"/>
                  <a:pt x="1865309" y="41960"/>
                  <a:pt x="1949228" y="125879"/>
                </a:cubicBezTo>
                <a:lnTo>
                  <a:pt x="3164784" y="1341435"/>
                </a:lnTo>
                <a:cubicBezTo>
                  <a:pt x="3332622" y="1509274"/>
                  <a:pt x="3332622" y="1781392"/>
                  <a:pt x="3164784" y="1949230"/>
                </a:cubicBezTo>
                <a:lnTo>
                  <a:pt x="1949229" y="3164785"/>
                </a:lnTo>
                <a:cubicBezTo>
                  <a:pt x="1781391" y="3332623"/>
                  <a:pt x="1509273" y="3332623"/>
                  <a:pt x="1341434" y="3164785"/>
                </a:cubicBezTo>
                <a:lnTo>
                  <a:pt x="125878" y="1949229"/>
                </a:lnTo>
                <a:cubicBezTo>
                  <a:pt x="-41960" y="1781391"/>
                  <a:pt x="-41960" y="1509272"/>
                  <a:pt x="125878" y="1341434"/>
                </a:cubicBezTo>
                <a:lnTo>
                  <a:pt x="1341433" y="125879"/>
                </a:lnTo>
                <a:cubicBezTo>
                  <a:pt x="1425352" y="41960"/>
                  <a:pt x="1535341" y="0"/>
                  <a:pt x="164533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07573FC-C722-4BDE-A3A5-B451C0204E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76748" y="4520771"/>
            <a:ext cx="3290662" cy="3290663"/>
          </a:xfrm>
          <a:custGeom>
            <a:avLst/>
            <a:gdLst>
              <a:gd name="connsiteX0" fmla="*/ 1645331 w 3290662"/>
              <a:gd name="connsiteY0" fmla="*/ 0 h 3290663"/>
              <a:gd name="connsiteX1" fmla="*/ 1949228 w 3290662"/>
              <a:gd name="connsiteY1" fmla="*/ 125879 h 3290663"/>
              <a:gd name="connsiteX2" fmla="*/ 3164784 w 3290662"/>
              <a:gd name="connsiteY2" fmla="*/ 1341435 h 3290663"/>
              <a:gd name="connsiteX3" fmla="*/ 3164784 w 3290662"/>
              <a:gd name="connsiteY3" fmla="*/ 1949230 h 3290663"/>
              <a:gd name="connsiteX4" fmla="*/ 1949229 w 3290662"/>
              <a:gd name="connsiteY4" fmla="*/ 3164785 h 3290663"/>
              <a:gd name="connsiteX5" fmla="*/ 1341434 w 3290662"/>
              <a:gd name="connsiteY5" fmla="*/ 3164785 h 3290663"/>
              <a:gd name="connsiteX6" fmla="*/ 125878 w 3290662"/>
              <a:gd name="connsiteY6" fmla="*/ 1949229 h 3290663"/>
              <a:gd name="connsiteX7" fmla="*/ 125878 w 3290662"/>
              <a:gd name="connsiteY7" fmla="*/ 1341434 h 3290663"/>
              <a:gd name="connsiteX8" fmla="*/ 1341433 w 3290662"/>
              <a:gd name="connsiteY8" fmla="*/ 125879 h 3290663"/>
              <a:gd name="connsiteX9" fmla="*/ 1645331 w 3290662"/>
              <a:gd name="connsiteY9" fmla="*/ 0 h 329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90662" h="3290663">
                <a:moveTo>
                  <a:pt x="1645331" y="0"/>
                </a:moveTo>
                <a:cubicBezTo>
                  <a:pt x="1755320" y="0"/>
                  <a:pt x="1865309" y="41960"/>
                  <a:pt x="1949228" y="125879"/>
                </a:cubicBezTo>
                <a:lnTo>
                  <a:pt x="3164784" y="1341435"/>
                </a:lnTo>
                <a:cubicBezTo>
                  <a:pt x="3332622" y="1509274"/>
                  <a:pt x="3332622" y="1781392"/>
                  <a:pt x="3164784" y="1949230"/>
                </a:cubicBezTo>
                <a:lnTo>
                  <a:pt x="1949229" y="3164785"/>
                </a:lnTo>
                <a:cubicBezTo>
                  <a:pt x="1781391" y="3332623"/>
                  <a:pt x="1509272" y="3332623"/>
                  <a:pt x="1341434" y="3164785"/>
                </a:cubicBezTo>
                <a:lnTo>
                  <a:pt x="125878" y="1949229"/>
                </a:lnTo>
                <a:cubicBezTo>
                  <a:pt x="-41960" y="1781391"/>
                  <a:pt x="-41960" y="1509272"/>
                  <a:pt x="125878" y="1341434"/>
                </a:cubicBezTo>
                <a:lnTo>
                  <a:pt x="1341433" y="125879"/>
                </a:lnTo>
                <a:cubicBezTo>
                  <a:pt x="1425352" y="41960"/>
                  <a:pt x="1535341" y="0"/>
                  <a:pt x="164533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B99AF14-D5B1-418D-930D-290858BC6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546669" y="3575893"/>
            <a:ext cx="3290662" cy="3290663"/>
          </a:xfrm>
          <a:custGeom>
            <a:avLst/>
            <a:gdLst>
              <a:gd name="connsiteX0" fmla="*/ 1645331 w 3290662"/>
              <a:gd name="connsiteY0" fmla="*/ 0 h 3290663"/>
              <a:gd name="connsiteX1" fmla="*/ 1949228 w 3290662"/>
              <a:gd name="connsiteY1" fmla="*/ 125879 h 3290663"/>
              <a:gd name="connsiteX2" fmla="*/ 3164784 w 3290662"/>
              <a:gd name="connsiteY2" fmla="*/ 1341435 h 3290663"/>
              <a:gd name="connsiteX3" fmla="*/ 3164784 w 3290662"/>
              <a:gd name="connsiteY3" fmla="*/ 1949230 h 3290663"/>
              <a:gd name="connsiteX4" fmla="*/ 1949229 w 3290662"/>
              <a:gd name="connsiteY4" fmla="*/ 3164785 h 3290663"/>
              <a:gd name="connsiteX5" fmla="*/ 1341434 w 3290662"/>
              <a:gd name="connsiteY5" fmla="*/ 3164785 h 3290663"/>
              <a:gd name="connsiteX6" fmla="*/ 125878 w 3290662"/>
              <a:gd name="connsiteY6" fmla="*/ 1949229 h 3290663"/>
              <a:gd name="connsiteX7" fmla="*/ 125878 w 3290662"/>
              <a:gd name="connsiteY7" fmla="*/ 1341434 h 3290663"/>
              <a:gd name="connsiteX8" fmla="*/ 1341433 w 3290662"/>
              <a:gd name="connsiteY8" fmla="*/ 125879 h 3290663"/>
              <a:gd name="connsiteX9" fmla="*/ 1645331 w 3290662"/>
              <a:gd name="connsiteY9" fmla="*/ 0 h 329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90662" h="3290663">
                <a:moveTo>
                  <a:pt x="1645331" y="0"/>
                </a:moveTo>
                <a:cubicBezTo>
                  <a:pt x="1755320" y="0"/>
                  <a:pt x="1865309" y="41960"/>
                  <a:pt x="1949228" y="125879"/>
                </a:cubicBezTo>
                <a:lnTo>
                  <a:pt x="3164784" y="1341435"/>
                </a:lnTo>
                <a:cubicBezTo>
                  <a:pt x="3332622" y="1509274"/>
                  <a:pt x="3332622" y="1781392"/>
                  <a:pt x="3164784" y="1949230"/>
                </a:cubicBezTo>
                <a:lnTo>
                  <a:pt x="1949229" y="3164785"/>
                </a:lnTo>
                <a:cubicBezTo>
                  <a:pt x="1781391" y="3332623"/>
                  <a:pt x="1509272" y="3332623"/>
                  <a:pt x="1341434" y="3164785"/>
                </a:cubicBezTo>
                <a:lnTo>
                  <a:pt x="125878" y="1949229"/>
                </a:lnTo>
                <a:cubicBezTo>
                  <a:pt x="-41960" y="1781391"/>
                  <a:pt x="-41960" y="1509272"/>
                  <a:pt x="125878" y="1341434"/>
                </a:cubicBezTo>
                <a:lnTo>
                  <a:pt x="1341433" y="125879"/>
                </a:lnTo>
                <a:cubicBezTo>
                  <a:pt x="1425352" y="41960"/>
                  <a:pt x="1535341" y="0"/>
                  <a:pt x="164533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4491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2AB4931-FFCE-4925-9086-4B31EDA967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34015" y="0"/>
            <a:ext cx="2154936" cy="6858000"/>
          </a:xfrm>
          <a:custGeom>
            <a:avLst/>
            <a:gdLst>
              <a:gd name="connsiteX0" fmla="*/ 0 w 2154936"/>
              <a:gd name="connsiteY0" fmla="*/ 0 h 6858000"/>
              <a:gd name="connsiteX1" fmla="*/ 2154936 w 2154936"/>
              <a:gd name="connsiteY1" fmla="*/ 0 h 6858000"/>
              <a:gd name="connsiteX2" fmla="*/ 2154936 w 2154936"/>
              <a:gd name="connsiteY2" fmla="*/ 6858000 h 6858000"/>
              <a:gd name="connsiteX3" fmla="*/ 0 w 215493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4936" h="6858000">
                <a:moveTo>
                  <a:pt x="0" y="0"/>
                </a:moveTo>
                <a:lnTo>
                  <a:pt x="2154936" y="0"/>
                </a:lnTo>
                <a:lnTo>
                  <a:pt x="21549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outerShdw blurRad="673100" dist="355600" dir="1440000" algn="l" rotWithShape="0">
              <a:prstClr val="black">
                <a:alpha val="86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5BF6C55-BB6C-4996-8DB4-C43BD04D61D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79080" y="0"/>
            <a:ext cx="2154936" cy="6858000"/>
          </a:xfrm>
          <a:custGeom>
            <a:avLst/>
            <a:gdLst>
              <a:gd name="connsiteX0" fmla="*/ 0 w 2154936"/>
              <a:gd name="connsiteY0" fmla="*/ 0 h 6858000"/>
              <a:gd name="connsiteX1" fmla="*/ 2154936 w 2154936"/>
              <a:gd name="connsiteY1" fmla="*/ 0 h 6858000"/>
              <a:gd name="connsiteX2" fmla="*/ 2154936 w 2154936"/>
              <a:gd name="connsiteY2" fmla="*/ 6858000 h 6858000"/>
              <a:gd name="connsiteX3" fmla="*/ 0 w 215493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4936" h="6858000">
                <a:moveTo>
                  <a:pt x="0" y="0"/>
                </a:moveTo>
                <a:lnTo>
                  <a:pt x="2154936" y="0"/>
                </a:lnTo>
                <a:lnTo>
                  <a:pt x="21549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outerShdw blurRad="673100" dist="355600" dir="1440000" algn="l" rotWithShape="0">
              <a:prstClr val="black">
                <a:alpha val="86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6705425-B018-4AF8-B9ED-A11FBA2853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24144" y="-1"/>
            <a:ext cx="2154936" cy="6858000"/>
          </a:xfrm>
          <a:custGeom>
            <a:avLst/>
            <a:gdLst>
              <a:gd name="connsiteX0" fmla="*/ 0 w 2154936"/>
              <a:gd name="connsiteY0" fmla="*/ 0 h 6858000"/>
              <a:gd name="connsiteX1" fmla="*/ 2154936 w 2154936"/>
              <a:gd name="connsiteY1" fmla="*/ 0 h 6858000"/>
              <a:gd name="connsiteX2" fmla="*/ 2154936 w 2154936"/>
              <a:gd name="connsiteY2" fmla="*/ 6858000 h 6858000"/>
              <a:gd name="connsiteX3" fmla="*/ 0 w 215493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4936" h="6858000">
                <a:moveTo>
                  <a:pt x="0" y="0"/>
                </a:moveTo>
                <a:lnTo>
                  <a:pt x="2154936" y="0"/>
                </a:lnTo>
                <a:lnTo>
                  <a:pt x="21549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outerShdw blurRad="673100" dist="355600" dir="1440000" algn="l" rotWithShape="0">
              <a:prstClr val="black">
                <a:alpha val="86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9250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5274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2C8F2A19-0481-42EC-8711-13D61462C6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78715" y="796185"/>
            <a:ext cx="2537413" cy="2537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4F5349-2E30-401F-B9C1-46BF8D0B65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86895" y="796184"/>
            <a:ext cx="2537413" cy="2537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E482DC4-A701-4139-B5FE-79D5A7B57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2355" y="3523588"/>
            <a:ext cx="2537413" cy="2537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5E13B691-EF9B-4638-8069-EDA1620D87C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70535" y="3523587"/>
            <a:ext cx="2537413" cy="2537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8095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15592" y="6400892"/>
            <a:ext cx="264527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>
                <a:solidFill>
                  <a:prstClr val="white"/>
                </a:solidFill>
              </a:rPr>
              <a:t>© 2018 </a:t>
            </a:r>
            <a:r>
              <a:rPr lang="en-US" sz="900" b="1" dirty="0">
                <a:solidFill>
                  <a:prstClr val="white"/>
                </a:solidFill>
                <a:latin typeface="Calibri Light"/>
              </a:rPr>
              <a:t>Slidefabric.com</a:t>
            </a:r>
            <a:r>
              <a:rPr lang="en-US" sz="900" dirty="0">
                <a:solidFill>
                  <a:prstClr val="white"/>
                </a:solidFill>
                <a:latin typeface="Calibri Light"/>
              </a:rPr>
              <a:t> All rights reserved.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1459134" y="6331642"/>
            <a:ext cx="4828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FF971EA-3A6D-44E0-AE21-1C9457776B3F}" type="slidenum">
              <a:rPr lang="en-US" smtClean="0">
                <a:solidFill>
                  <a:prstClr val="white"/>
                </a:solidFill>
                <a:latin typeface="Calibri Light"/>
              </a:rPr>
              <a:pPr algn="ctr"/>
              <a:t>‹#›</a:t>
            </a:fld>
            <a:endParaRPr lang="en-US" sz="1600" dirty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7" name="Rectangle 6"/>
          <p:cNvSpPr/>
          <p:nvPr userDrawn="1"/>
        </p:nvSpPr>
        <p:spPr>
          <a:xfrm rot="900000">
            <a:off x="11338841" y="6154604"/>
            <a:ext cx="723409" cy="723409"/>
          </a:xfrm>
          <a:prstGeom prst="rect">
            <a:avLst/>
          </a:prstGeom>
          <a:noFill/>
          <a:ln w="571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125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08D62A35-2A0F-4A5D-A694-D7D9AF35EEC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78608" y="0"/>
            <a:ext cx="9613392" cy="6858000"/>
          </a:xfrm>
          <a:custGeom>
            <a:avLst/>
            <a:gdLst>
              <a:gd name="connsiteX0" fmla="*/ 6583680 w 9613392"/>
              <a:gd name="connsiteY0" fmla="*/ 0 h 6858000"/>
              <a:gd name="connsiteX1" fmla="*/ 6601968 w 9613392"/>
              <a:gd name="connsiteY1" fmla="*/ 0 h 6858000"/>
              <a:gd name="connsiteX2" fmla="*/ 9613392 w 9613392"/>
              <a:gd name="connsiteY2" fmla="*/ 0 h 6858000"/>
              <a:gd name="connsiteX3" fmla="*/ 9613392 w 9613392"/>
              <a:gd name="connsiteY3" fmla="*/ 6858000 h 6858000"/>
              <a:gd name="connsiteX4" fmla="*/ 6601968 w 9613392"/>
              <a:gd name="connsiteY4" fmla="*/ 6858000 h 6858000"/>
              <a:gd name="connsiteX5" fmla="*/ 6583680 w 9613392"/>
              <a:gd name="connsiteY5" fmla="*/ 6858000 h 6858000"/>
              <a:gd name="connsiteX6" fmla="*/ 0 w 9613392"/>
              <a:gd name="connsiteY6" fmla="*/ 6858000 h 6858000"/>
              <a:gd name="connsiteX7" fmla="*/ 6583680 w 9613392"/>
              <a:gd name="connsiteY7" fmla="*/ 189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13392" h="6858000">
                <a:moveTo>
                  <a:pt x="6583680" y="0"/>
                </a:moveTo>
                <a:lnTo>
                  <a:pt x="6601968" y="0"/>
                </a:lnTo>
                <a:lnTo>
                  <a:pt x="9613392" y="0"/>
                </a:lnTo>
                <a:lnTo>
                  <a:pt x="9613392" y="6858000"/>
                </a:lnTo>
                <a:lnTo>
                  <a:pt x="6601968" y="6858000"/>
                </a:lnTo>
                <a:lnTo>
                  <a:pt x="6583680" y="6858000"/>
                </a:lnTo>
                <a:lnTo>
                  <a:pt x="0" y="6858000"/>
                </a:lnTo>
                <a:lnTo>
                  <a:pt x="6583680" y="1899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2360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EA2761A-BD3C-4C66-B90B-2726F8D215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24127" y="-1"/>
            <a:ext cx="4754880" cy="6858000"/>
          </a:xfrm>
          <a:custGeom>
            <a:avLst/>
            <a:gdLst>
              <a:gd name="connsiteX0" fmla="*/ 0 w 4754880"/>
              <a:gd name="connsiteY0" fmla="*/ 0 h 6858000"/>
              <a:gd name="connsiteX1" fmla="*/ 4754880 w 4754880"/>
              <a:gd name="connsiteY1" fmla="*/ 0 h 6858000"/>
              <a:gd name="connsiteX2" fmla="*/ 4754880 w 4754880"/>
              <a:gd name="connsiteY2" fmla="*/ 6858000 h 6858000"/>
              <a:gd name="connsiteX3" fmla="*/ 0 w 475488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54880" h="6858000">
                <a:moveTo>
                  <a:pt x="0" y="0"/>
                </a:moveTo>
                <a:lnTo>
                  <a:pt x="4754880" y="0"/>
                </a:lnTo>
                <a:lnTo>
                  <a:pt x="475488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319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EA2761A-BD3C-4C66-B90B-2726F8D215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4754880"/>
              <a:gd name="connsiteY0" fmla="*/ 0 h 6858000"/>
              <a:gd name="connsiteX1" fmla="*/ 4754880 w 4754880"/>
              <a:gd name="connsiteY1" fmla="*/ 0 h 6858000"/>
              <a:gd name="connsiteX2" fmla="*/ 4754880 w 4754880"/>
              <a:gd name="connsiteY2" fmla="*/ 6858000 h 6858000"/>
              <a:gd name="connsiteX3" fmla="*/ 0 w 475488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54880" h="6858000">
                <a:moveTo>
                  <a:pt x="0" y="0"/>
                </a:moveTo>
                <a:lnTo>
                  <a:pt x="4754880" y="0"/>
                </a:lnTo>
                <a:lnTo>
                  <a:pt x="475488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937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926CFFD-6662-4B6E-9FCA-7CF2A318F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2176272"/>
          </a:xfrm>
          <a:custGeom>
            <a:avLst/>
            <a:gdLst>
              <a:gd name="connsiteX0" fmla="*/ 0 w 12192000"/>
              <a:gd name="connsiteY0" fmla="*/ 0 h 2176272"/>
              <a:gd name="connsiteX1" fmla="*/ 12192000 w 12192000"/>
              <a:gd name="connsiteY1" fmla="*/ 0 h 2176272"/>
              <a:gd name="connsiteX2" fmla="*/ 12192000 w 12192000"/>
              <a:gd name="connsiteY2" fmla="*/ 2176272 h 2176272"/>
              <a:gd name="connsiteX3" fmla="*/ 0 w 12192000"/>
              <a:gd name="connsiteY3" fmla="*/ 2176272 h 2176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176272">
                <a:moveTo>
                  <a:pt x="0" y="0"/>
                </a:moveTo>
                <a:lnTo>
                  <a:pt x="12192000" y="0"/>
                </a:lnTo>
                <a:lnTo>
                  <a:pt x="12192000" y="2176272"/>
                </a:lnTo>
                <a:lnTo>
                  <a:pt x="0" y="217627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1627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926CFFD-6662-4B6E-9FCA-7CF2A318F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"/>
            <a:ext cx="12192000" cy="6858001"/>
          </a:xfrm>
          <a:custGeom>
            <a:avLst/>
            <a:gdLst>
              <a:gd name="connsiteX0" fmla="*/ 0 w 12192000"/>
              <a:gd name="connsiteY0" fmla="*/ 0 h 2176272"/>
              <a:gd name="connsiteX1" fmla="*/ 12192000 w 12192000"/>
              <a:gd name="connsiteY1" fmla="*/ 0 h 2176272"/>
              <a:gd name="connsiteX2" fmla="*/ 12192000 w 12192000"/>
              <a:gd name="connsiteY2" fmla="*/ 2176272 h 2176272"/>
              <a:gd name="connsiteX3" fmla="*/ 0 w 12192000"/>
              <a:gd name="connsiteY3" fmla="*/ 2176272 h 2176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176272">
                <a:moveTo>
                  <a:pt x="0" y="0"/>
                </a:moveTo>
                <a:lnTo>
                  <a:pt x="12192000" y="0"/>
                </a:lnTo>
                <a:lnTo>
                  <a:pt x="12192000" y="2176272"/>
                </a:lnTo>
                <a:lnTo>
                  <a:pt x="0" y="217627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787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080C077-92A2-429D-99D8-399FFD556D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645331" y="3575893"/>
            <a:ext cx="3290662" cy="3290663"/>
          </a:xfrm>
          <a:custGeom>
            <a:avLst/>
            <a:gdLst>
              <a:gd name="connsiteX0" fmla="*/ 1645330 w 3290662"/>
              <a:gd name="connsiteY0" fmla="*/ 0 h 3290663"/>
              <a:gd name="connsiteX1" fmla="*/ 1949228 w 3290662"/>
              <a:gd name="connsiteY1" fmla="*/ 125879 h 3290663"/>
              <a:gd name="connsiteX2" fmla="*/ 3164784 w 3290662"/>
              <a:gd name="connsiteY2" fmla="*/ 1341435 h 3290663"/>
              <a:gd name="connsiteX3" fmla="*/ 3164784 w 3290662"/>
              <a:gd name="connsiteY3" fmla="*/ 1949230 h 3290663"/>
              <a:gd name="connsiteX4" fmla="*/ 1949229 w 3290662"/>
              <a:gd name="connsiteY4" fmla="*/ 3164785 h 3290663"/>
              <a:gd name="connsiteX5" fmla="*/ 1341434 w 3290662"/>
              <a:gd name="connsiteY5" fmla="*/ 3164785 h 3290663"/>
              <a:gd name="connsiteX6" fmla="*/ 125878 w 3290662"/>
              <a:gd name="connsiteY6" fmla="*/ 1949229 h 3290663"/>
              <a:gd name="connsiteX7" fmla="*/ 125878 w 3290662"/>
              <a:gd name="connsiteY7" fmla="*/ 1341434 h 3290663"/>
              <a:gd name="connsiteX8" fmla="*/ 1341433 w 3290662"/>
              <a:gd name="connsiteY8" fmla="*/ 125879 h 3290663"/>
              <a:gd name="connsiteX9" fmla="*/ 1645330 w 3290662"/>
              <a:gd name="connsiteY9" fmla="*/ 0 h 329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90662" h="3290663">
                <a:moveTo>
                  <a:pt x="1645330" y="0"/>
                </a:moveTo>
                <a:cubicBezTo>
                  <a:pt x="1755320" y="0"/>
                  <a:pt x="1865309" y="41960"/>
                  <a:pt x="1949228" y="125879"/>
                </a:cubicBezTo>
                <a:lnTo>
                  <a:pt x="3164784" y="1341435"/>
                </a:lnTo>
                <a:cubicBezTo>
                  <a:pt x="3332622" y="1509273"/>
                  <a:pt x="3332622" y="1781392"/>
                  <a:pt x="3164784" y="1949230"/>
                </a:cubicBezTo>
                <a:lnTo>
                  <a:pt x="1949229" y="3164785"/>
                </a:lnTo>
                <a:cubicBezTo>
                  <a:pt x="1781391" y="3332623"/>
                  <a:pt x="1509272" y="3332623"/>
                  <a:pt x="1341434" y="3164785"/>
                </a:cubicBezTo>
                <a:lnTo>
                  <a:pt x="125878" y="1949229"/>
                </a:lnTo>
                <a:cubicBezTo>
                  <a:pt x="-41960" y="1781391"/>
                  <a:pt x="-41960" y="1509272"/>
                  <a:pt x="125878" y="1341434"/>
                </a:cubicBezTo>
                <a:lnTo>
                  <a:pt x="1341433" y="125879"/>
                </a:lnTo>
                <a:cubicBezTo>
                  <a:pt x="1425352" y="41960"/>
                  <a:pt x="1535341" y="0"/>
                  <a:pt x="164533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4FC82BA-15D1-4111-9174-AEA7497BB6E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524590" y="4520771"/>
            <a:ext cx="3290662" cy="3290663"/>
          </a:xfrm>
          <a:custGeom>
            <a:avLst/>
            <a:gdLst>
              <a:gd name="connsiteX0" fmla="*/ 1645331 w 3290662"/>
              <a:gd name="connsiteY0" fmla="*/ 0 h 3290663"/>
              <a:gd name="connsiteX1" fmla="*/ 1949228 w 3290662"/>
              <a:gd name="connsiteY1" fmla="*/ 125879 h 3290663"/>
              <a:gd name="connsiteX2" fmla="*/ 3164784 w 3290662"/>
              <a:gd name="connsiteY2" fmla="*/ 1341435 h 3290663"/>
              <a:gd name="connsiteX3" fmla="*/ 3164784 w 3290662"/>
              <a:gd name="connsiteY3" fmla="*/ 1949230 h 3290663"/>
              <a:gd name="connsiteX4" fmla="*/ 1949229 w 3290662"/>
              <a:gd name="connsiteY4" fmla="*/ 3164785 h 3290663"/>
              <a:gd name="connsiteX5" fmla="*/ 1341434 w 3290662"/>
              <a:gd name="connsiteY5" fmla="*/ 3164785 h 3290663"/>
              <a:gd name="connsiteX6" fmla="*/ 125878 w 3290662"/>
              <a:gd name="connsiteY6" fmla="*/ 1949229 h 3290663"/>
              <a:gd name="connsiteX7" fmla="*/ 125878 w 3290662"/>
              <a:gd name="connsiteY7" fmla="*/ 1341434 h 3290663"/>
              <a:gd name="connsiteX8" fmla="*/ 1341433 w 3290662"/>
              <a:gd name="connsiteY8" fmla="*/ 125879 h 3290663"/>
              <a:gd name="connsiteX9" fmla="*/ 1645331 w 3290662"/>
              <a:gd name="connsiteY9" fmla="*/ 0 h 329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90662" h="3290663">
                <a:moveTo>
                  <a:pt x="1645331" y="0"/>
                </a:moveTo>
                <a:cubicBezTo>
                  <a:pt x="1755320" y="0"/>
                  <a:pt x="1865309" y="41960"/>
                  <a:pt x="1949228" y="125879"/>
                </a:cubicBezTo>
                <a:lnTo>
                  <a:pt x="3164784" y="1341435"/>
                </a:lnTo>
                <a:cubicBezTo>
                  <a:pt x="3332622" y="1509274"/>
                  <a:pt x="3332622" y="1781392"/>
                  <a:pt x="3164784" y="1949230"/>
                </a:cubicBezTo>
                <a:lnTo>
                  <a:pt x="1949229" y="3164785"/>
                </a:lnTo>
                <a:cubicBezTo>
                  <a:pt x="1781391" y="3332623"/>
                  <a:pt x="1509272" y="3332623"/>
                  <a:pt x="1341434" y="3164785"/>
                </a:cubicBezTo>
                <a:lnTo>
                  <a:pt x="125878" y="1949229"/>
                </a:lnTo>
                <a:cubicBezTo>
                  <a:pt x="-41960" y="1781391"/>
                  <a:pt x="-41960" y="1509272"/>
                  <a:pt x="125878" y="1341434"/>
                </a:cubicBezTo>
                <a:lnTo>
                  <a:pt x="1341433" y="125879"/>
                </a:lnTo>
                <a:cubicBezTo>
                  <a:pt x="1425352" y="41960"/>
                  <a:pt x="1535341" y="0"/>
                  <a:pt x="164533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436E39-FD66-4D2C-8E53-DF0DDBF87B1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450669" y="3277188"/>
            <a:ext cx="3290662" cy="3290663"/>
          </a:xfrm>
          <a:custGeom>
            <a:avLst/>
            <a:gdLst>
              <a:gd name="connsiteX0" fmla="*/ 1645331 w 3290662"/>
              <a:gd name="connsiteY0" fmla="*/ 0 h 3290663"/>
              <a:gd name="connsiteX1" fmla="*/ 1949228 w 3290662"/>
              <a:gd name="connsiteY1" fmla="*/ 125879 h 3290663"/>
              <a:gd name="connsiteX2" fmla="*/ 3164784 w 3290662"/>
              <a:gd name="connsiteY2" fmla="*/ 1341435 h 3290663"/>
              <a:gd name="connsiteX3" fmla="*/ 3164784 w 3290662"/>
              <a:gd name="connsiteY3" fmla="*/ 1949230 h 3290663"/>
              <a:gd name="connsiteX4" fmla="*/ 1949229 w 3290662"/>
              <a:gd name="connsiteY4" fmla="*/ 3164785 h 3290663"/>
              <a:gd name="connsiteX5" fmla="*/ 1341434 w 3290662"/>
              <a:gd name="connsiteY5" fmla="*/ 3164785 h 3290663"/>
              <a:gd name="connsiteX6" fmla="*/ 125878 w 3290662"/>
              <a:gd name="connsiteY6" fmla="*/ 1949229 h 3290663"/>
              <a:gd name="connsiteX7" fmla="*/ 125878 w 3290662"/>
              <a:gd name="connsiteY7" fmla="*/ 1341434 h 3290663"/>
              <a:gd name="connsiteX8" fmla="*/ 1341433 w 3290662"/>
              <a:gd name="connsiteY8" fmla="*/ 125879 h 3290663"/>
              <a:gd name="connsiteX9" fmla="*/ 1645331 w 3290662"/>
              <a:gd name="connsiteY9" fmla="*/ 0 h 329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90662" h="3290663">
                <a:moveTo>
                  <a:pt x="1645331" y="0"/>
                </a:moveTo>
                <a:cubicBezTo>
                  <a:pt x="1755320" y="0"/>
                  <a:pt x="1865309" y="41960"/>
                  <a:pt x="1949228" y="125879"/>
                </a:cubicBezTo>
                <a:lnTo>
                  <a:pt x="3164784" y="1341435"/>
                </a:lnTo>
                <a:cubicBezTo>
                  <a:pt x="3332622" y="1509274"/>
                  <a:pt x="3332622" y="1781392"/>
                  <a:pt x="3164784" y="1949230"/>
                </a:cubicBezTo>
                <a:lnTo>
                  <a:pt x="1949229" y="3164785"/>
                </a:lnTo>
                <a:cubicBezTo>
                  <a:pt x="1781391" y="3332623"/>
                  <a:pt x="1509273" y="3332623"/>
                  <a:pt x="1341434" y="3164785"/>
                </a:cubicBezTo>
                <a:lnTo>
                  <a:pt x="125878" y="1949229"/>
                </a:lnTo>
                <a:cubicBezTo>
                  <a:pt x="-41960" y="1781391"/>
                  <a:pt x="-41960" y="1509272"/>
                  <a:pt x="125878" y="1341434"/>
                </a:cubicBezTo>
                <a:lnTo>
                  <a:pt x="1341433" y="125879"/>
                </a:lnTo>
                <a:cubicBezTo>
                  <a:pt x="1425352" y="41960"/>
                  <a:pt x="1535341" y="0"/>
                  <a:pt x="164533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07573FC-C722-4BDE-A3A5-B451C0204E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76748" y="4520771"/>
            <a:ext cx="3290662" cy="3290663"/>
          </a:xfrm>
          <a:custGeom>
            <a:avLst/>
            <a:gdLst>
              <a:gd name="connsiteX0" fmla="*/ 1645331 w 3290662"/>
              <a:gd name="connsiteY0" fmla="*/ 0 h 3290663"/>
              <a:gd name="connsiteX1" fmla="*/ 1949228 w 3290662"/>
              <a:gd name="connsiteY1" fmla="*/ 125879 h 3290663"/>
              <a:gd name="connsiteX2" fmla="*/ 3164784 w 3290662"/>
              <a:gd name="connsiteY2" fmla="*/ 1341435 h 3290663"/>
              <a:gd name="connsiteX3" fmla="*/ 3164784 w 3290662"/>
              <a:gd name="connsiteY3" fmla="*/ 1949230 h 3290663"/>
              <a:gd name="connsiteX4" fmla="*/ 1949229 w 3290662"/>
              <a:gd name="connsiteY4" fmla="*/ 3164785 h 3290663"/>
              <a:gd name="connsiteX5" fmla="*/ 1341434 w 3290662"/>
              <a:gd name="connsiteY5" fmla="*/ 3164785 h 3290663"/>
              <a:gd name="connsiteX6" fmla="*/ 125878 w 3290662"/>
              <a:gd name="connsiteY6" fmla="*/ 1949229 h 3290663"/>
              <a:gd name="connsiteX7" fmla="*/ 125878 w 3290662"/>
              <a:gd name="connsiteY7" fmla="*/ 1341434 h 3290663"/>
              <a:gd name="connsiteX8" fmla="*/ 1341433 w 3290662"/>
              <a:gd name="connsiteY8" fmla="*/ 125879 h 3290663"/>
              <a:gd name="connsiteX9" fmla="*/ 1645331 w 3290662"/>
              <a:gd name="connsiteY9" fmla="*/ 0 h 329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90662" h="3290663">
                <a:moveTo>
                  <a:pt x="1645331" y="0"/>
                </a:moveTo>
                <a:cubicBezTo>
                  <a:pt x="1755320" y="0"/>
                  <a:pt x="1865309" y="41960"/>
                  <a:pt x="1949228" y="125879"/>
                </a:cubicBezTo>
                <a:lnTo>
                  <a:pt x="3164784" y="1341435"/>
                </a:lnTo>
                <a:cubicBezTo>
                  <a:pt x="3332622" y="1509274"/>
                  <a:pt x="3332622" y="1781392"/>
                  <a:pt x="3164784" y="1949230"/>
                </a:cubicBezTo>
                <a:lnTo>
                  <a:pt x="1949229" y="3164785"/>
                </a:lnTo>
                <a:cubicBezTo>
                  <a:pt x="1781391" y="3332623"/>
                  <a:pt x="1509272" y="3332623"/>
                  <a:pt x="1341434" y="3164785"/>
                </a:cubicBezTo>
                <a:lnTo>
                  <a:pt x="125878" y="1949229"/>
                </a:lnTo>
                <a:cubicBezTo>
                  <a:pt x="-41960" y="1781391"/>
                  <a:pt x="-41960" y="1509272"/>
                  <a:pt x="125878" y="1341434"/>
                </a:cubicBezTo>
                <a:lnTo>
                  <a:pt x="1341433" y="125879"/>
                </a:lnTo>
                <a:cubicBezTo>
                  <a:pt x="1425352" y="41960"/>
                  <a:pt x="1535341" y="0"/>
                  <a:pt x="164533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B99AF14-D5B1-418D-930D-290858BC6F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546669" y="3575893"/>
            <a:ext cx="3290662" cy="3290663"/>
          </a:xfrm>
          <a:custGeom>
            <a:avLst/>
            <a:gdLst>
              <a:gd name="connsiteX0" fmla="*/ 1645331 w 3290662"/>
              <a:gd name="connsiteY0" fmla="*/ 0 h 3290663"/>
              <a:gd name="connsiteX1" fmla="*/ 1949228 w 3290662"/>
              <a:gd name="connsiteY1" fmla="*/ 125879 h 3290663"/>
              <a:gd name="connsiteX2" fmla="*/ 3164784 w 3290662"/>
              <a:gd name="connsiteY2" fmla="*/ 1341435 h 3290663"/>
              <a:gd name="connsiteX3" fmla="*/ 3164784 w 3290662"/>
              <a:gd name="connsiteY3" fmla="*/ 1949230 h 3290663"/>
              <a:gd name="connsiteX4" fmla="*/ 1949229 w 3290662"/>
              <a:gd name="connsiteY4" fmla="*/ 3164785 h 3290663"/>
              <a:gd name="connsiteX5" fmla="*/ 1341434 w 3290662"/>
              <a:gd name="connsiteY5" fmla="*/ 3164785 h 3290663"/>
              <a:gd name="connsiteX6" fmla="*/ 125878 w 3290662"/>
              <a:gd name="connsiteY6" fmla="*/ 1949229 h 3290663"/>
              <a:gd name="connsiteX7" fmla="*/ 125878 w 3290662"/>
              <a:gd name="connsiteY7" fmla="*/ 1341434 h 3290663"/>
              <a:gd name="connsiteX8" fmla="*/ 1341433 w 3290662"/>
              <a:gd name="connsiteY8" fmla="*/ 125879 h 3290663"/>
              <a:gd name="connsiteX9" fmla="*/ 1645331 w 3290662"/>
              <a:gd name="connsiteY9" fmla="*/ 0 h 329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90662" h="3290663">
                <a:moveTo>
                  <a:pt x="1645331" y="0"/>
                </a:moveTo>
                <a:cubicBezTo>
                  <a:pt x="1755320" y="0"/>
                  <a:pt x="1865309" y="41960"/>
                  <a:pt x="1949228" y="125879"/>
                </a:cubicBezTo>
                <a:lnTo>
                  <a:pt x="3164784" y="1341435"/>
                </a:lnTo>
                <a:cubicBezTo>
                  <a:pt x="3332622" y="1509274"/>
                  <a:pt x="3332622" y="1781392"/>
                  <a:pt x="3164784" y="1949230"/>
                </a:cubicBezTo>
                <a:lnTo>
                  <a:pt x="1949229" y="3164785"/>
                </a:lnTo>
                <a:cubicBezTo>
                  <a:pt x="1781391" y="3332623"/>
                  <a:pt x="1509272" y="3332623"/>
                  <a:pt x="1341434" y="3164785"/>
                </a:cubicBezTo>
                <a:lnTo>
                  <a:pt x="125878" y="1949229"/>
                </a:lnTo>
                <a:cubicBezTo>
                  <a:pt x="-41960" y="1781391"/>
                  <a:pt x="-41960" y="1509272"/>
                  <a:pt x="125878" y="1341434"/>
                </a:cubicBezTo>
                <a:lnTo>
                  <a:pt x="1341433" y="125879"/>
                </a:lnTo>
                <a:cubicBezTo>
                  <a:pt x="1425352" y="41960"/>
                  <a:pt x="1535341" y="0"/>
                  <a:pt x="164533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7080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1977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19E25B6-5BB6-4D3E-A66E-777FAC9600B4}"/>
              </a:ext>
            </a:extLst>
          </p:cNvPr>
          <p:cNvGrpSpPr/>
          <p:nvPr userDrawn="1"/>
        </p:nvGrpSpPr>
        <p:grpSpPr>
          <a:xfrm>
            <a:off x="189581" y="146954"/>
            <a:ext cx="1133200" cy="991790"/>
            <a:chOff x="2569485" y="4937447"/>
            <a:chExt cx="464344" cy="406400"/>
          </a:xfrm>
          <a:solidFill>
            <a:schemeClr val="bg1">
              <a:lumMod val="95000"/>
            </a:schemeClr>
          </a:solidFill>
        </p:grpSpPr>
        <p:sp>
          <p:nvSpPr>
            <p:cNvPr id="8" name="AutoShape 103">
              <a:extLst>
                <a:ext uri="{FF2B5EF4-FFF2-40B4-BE49-F238E27FC236}">
                  <a16:creationId xmlns:a16="http://schemas.microsoft.com/office/drawing/2014/main" id="{68D371B1-55C2-483B-88F7-334895FB4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510" y="5009678"/>
              <a:ext cx="166688" cy="1095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660" y="0"/>
                  </a:moveTo>
                  <a:cubicBezTo>
                    <a:pt x="9461" y="0"/>
                    <a:pt x="0" y="9233"/>
                    <a:pt x="0" y="20160"/>
                  </a:cubicBezTo>
                  <a:cubicBezTo>
                    <a:pt x="0" y="20954"/>
                    <a:pt x="420" y="21600"/>
                    <a:pt x="939" y="21600"/>
                  </a:cubicBezTo>
                  <a:cubicBezTo>
                    <a:pt x="1457" y="21600"/>
                    <a:pt x="1878" y="20954"/>
                    <a:pt x="1878" y="20160"/>
                  </a:cubicBezTo>
                  <a:cubicBezTo>
                    <a:pt x="1878" y="10956"/>
                    <a:pt x="10655" y="2880"/>
                    <a:pt x="20660" y="2880"/>
                  </a:cubicBezTo>
                  <a:cubicBezTo>
                    <a:pt x="21179" y="2880"/>
                    <a:pt x="21600" y="2234"/>
                    <a:pt x="21600" y="1440"/>
                  </a:cubicBezTo>
                  <a:cubicBezTo>
                    <a:pt x="21600" y="645"/>
                    <a:pt x="21179" y="0"/>
                    <a:pt x="2066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sym typeface="Gill Sans" charset="0"/>
              </a:endParaRPr>
            </a:p>
          </p:txBody>
        </p:sp>
        <p:sp>
          <p:nvSpPr>
            <p:cNvPr id="9" name="AutoShape 104">
              <a:extLst>
                <a:ext uri="{FF2B5EF4-FFF2-40B4-BE49-F238E27FC236}">
                  <a16:creationId xmlns:a16="http://schemas.microsoft.com/office/drawing/2014/main" id="{61871B64-7C43-4193-87BA-1F80C9BB3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485" y="4937447"/>
              <a:ext cx="464344" cy="406400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16971"/>
                  </a:moveTo>
                  <a:cubicBezTo>
                    <a:pt x="10181" y="16971"/>
                    <a:pt x="9546" y="16918"/>
                    <a:pt x="8912" y="16811"/>
                  </a:cubicBezTo>
                  <a:cubicBezTo>
                    <a:pt x="8847" y="16800"/>
                    <a:pt x="8781" y="16794"/>
                    <a:pt x="8716" y="16794"/>
                  </a:cubicBezTo>
                  <a:cubicBezTo>
                    <a:pt x="8315" y="16794"/>
                    <a:pt x="7931" y="16999"/>
                    <a:pt x="7673" y="17359"/>
                  </a:cubicBezTo>
                  <a:cubicBezTo>
                    <a:pt x="7384" y="17761"/>
                    <a:pt x="6563" y="18657"/>
                    <a:pt x="5591" y="19318"/>
                  </a:cubicBezTo>
                  <a:cubicBezTo>
                    <a:pt x="5854" y="18628"/>
                    <a:pt x="6060" y="17853"/>
                    <a:pt x="6074" y="17056"/>
                  </a:cubicBezTo>
                  <a:cubicBezTo>
                    <a:pt x="6078" y="17006"/>
                    <a:pt x="6080" y="16956"/>
                    <a:pt x="6080" y="16914"/>
                  </a:cubicBezTo>
                  <a:cubicBezTo>
                    <a:pt x="6080" y="16334"/>
                    <a:pt x="5796" y="15803"/>
                    <a:pt x="5344" y="15540"/>
                  </a:cubicBezTo>
                  <a:cubicBezTo>
                    <a:pt x="2843" y="14080"/>
                    <a:pt x="1349" y="11731"/>
                    <a:pt x="1349" y="9257"/>
                  </a:cubicBezTo>
                  <a:cubicBezTo>
                    <a:pt x="1349" y="5003"/>
                    <a:pt x="5588" y="1542"/>
                    <a:pt x="10800" y="1542"/>
                  </a:cubicBezTo>
                  <a:cubicBezTo>
                    <a:pt x="16011" y="1542"/>
                    <a:pt x="20249" y="5003"/>
                    <a:pt x="20249" y="9257"/>
                  </a:cubicBezTo>
                  <a:cubicBezTo>
                    <a:pt x="20249" y="13510"/>
                    <a:pt x="16011" y="16971"/>
                    <a:pt x="10800" y="16971"/>
                  </a:cubicBezTo>
                  <a:moveTo>
                    <a:pt x="10800" y="0"/>
                  </a:moveTo>
                  <a:cubicBezTo>
                    <a:pt x="4835" y="0"/>
                    <a:pt x="0" y="4144"/>
                    <a:pt x="0" y="9257"/>
                  </a:cubicBezTo>
                  <a:cubicBezTo>
                    <a:pt x="0" y="12440"/>
                    <a:pt x="1875" y="15248"/>
                    <a:pt x="4730" y="16914"/>
                  </a:cubicBezTo>
                  <a:cubicBezTo>
                    <a:pt x="4730" y="16935"/>
                    <a:pt x="4724" y="16949"/>
                    <a:pt x="4724" y="16971"/>
                  </a:cubicBezTo>
                  <a:cubicBezTo>
                    <a:pt x="4724" y="18354"/>
                    <a:pt x="3821" y="19843"/>
                    <a:pt x="3423" y="20625"/>
                  </a:cubicBezTo>
                  <a:lnTo>
                    <a:pt x="3425" y="20625"/>
                  </a:lnTo>
                  <a:cubicBezTo>
                    <a:pt x="3393" y="20709"/>
                    <a:pt x="3374" y="20802"/>
                    <a:pt x="3374" y="20900"/>
                  </a:cubicBezTo>
                  <a:cubicBezTo>
                    <a:pt x="3374" y="21287"/>
                    <a:pt x="3648" y="21600"/>
                    <a:pt x="3986" y="21600"/>
                  </a:cubicBezTo>
                  <a:cubicBezTo>
                    <a:pt x="4049" y="21600"/>
                    <a:pt x="4161" y="21580"/>
                    <a:pt x="4158" y="21590"/>
                  </a:cubicBezTo>
                  <a:cubicBezTo>
                    <a:pt x="6268" y="21195"/>
                    <a:pt x="8255" y="18979"/>
                    <a:pt x="8716" y="18338"/>
                  </a:cubicBezTo>
                  <a:cubicBezTo>
                    <a:pt x="9391" y="18451"/>
                    <a:pt x="10086" y="18514"/>
                    <a:pt x="10800" y="18514"/>
                  </a:cubicBezTo>
                  <a:cubicBezTo>
                    <a:pt x="16764" y="18514"/>
                    <a:pt x="21600" y="14369"/>
                    <a:pt x="21600" y="9257"/>
                  </a:cubicBezTo>
                  <a:cubicBezTo>
                    <a:pt x="21600" y="4144"/>
                    <a:pt x="16764" y="0"/>
                    <a:pt x="1080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sym typeface="Gill Sans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B5FF947-FA6F-41FB-96D3-BD74DEA0A81D}"/>
              </a:ext>
            </a:extLst>
          </p:cNvPr>
          <p:cNvSpPr txBox="1"/>
          <p:nvPr userDrawn="1"/>
        </p:nvSpPr>
        <p:spPr>
          <a:xfrm>
            <a:off x="189581" y="6442854"/>
            <a:ext cx="2462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bg1">
                    <a:lumMod val="65000"/>
                  </a:schemeClr>
                </a:solidFill>
              </a:rPr>
              <a:t>Creative</a:t>
            </a:r>
            <a:r>
              <a:rPr lang="en-US" sz="1400" dirty="0">
                <a:solidFill>
                  <a:schemeClr val="bg1">
                    <a:lumMod val="85000"/>
                  </a:schemeClr>
                </a:solidFill>
              </a:rPr>
              <a:t> presentation templ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12BCC8-6E91-4615-8B43-FD2069D846C0}"/>
              </a:ext>
            </a:extLst>
          </p:cNvPr>
          <p:cNvSpPr txBox="1"/>
          <p:nvPr userDrawn="1"/>
        </p:nvSpPr>
        <p:spPr>
          <a:xfrm rot="5400000">
            <a:off x="10082777" y="3275112"/>
            <a:ext cx="36167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0" spc="300" dirty="0">
                <a:solidFill>
                  <a:schemeClr val="bg1">
                    <a:lumMod val="95000"/>
                  </a:schemeClr>
                </a:solidFill>
              </a:rPr>
              <a:t>Creative presentation template</a:t>
            </a:r>
          </a:p>
        </p:txBody>
      </p:sp>
    </p:spTree>
    <p:extLst>
      <p:ext uri="{BB962C8B-B14F-4D97-AF65-F5344CB8AC3E}">
        <p14:creationId xmlns:p14="http://schemas.microsoft.com/office/powerpoint/2010/main" val="3172881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3" r:id="rId3"/>
    <p:sldLayoutId id="2147483652" r:id="rId4"/>
    <p:sldLayoutId id="2147483655" r:id="rId5"/>
    <p:sldLayoutId id="2147483650" r:id="rId6"/>
    <p:sldLayoutId id="2147483662" r:id="rId7"/>
    <p:sldLayoutId id="2147483651" r:id="rId8"/>
    <p:sldLayoutId id="2147483656" r:id="rId9"/>
    <p:sldLayoutId id="2147483668" r:id="rId10"/>
    <p:sldLayoutId id="214748366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19E25B6-5BB6-4D3E-A66E-777FAC9600B4}"/>
              </a:ext>
            </a:extLst>
          </p:cNvPr>
          <p:cNvGrpSpPr/>
          <p:nvPr userDrawn="1"/>
        </p:nvGrpSpPr>
        <p:grpSpPr>
          <a:xfrm>
            <a:off x="189581" y="146954"/>
            <a:ext cx="1133200" cy="991790"/>
            <a:chOff x="2569485" y="4937447"/>
            <a:chExt cx="464344" cy="406400"/>
          </a:xfrm>
          <a:solidFill>
            <a:schemeClr val="bg1">
              <a:lumMod val="95000"/>
            </a:schemeClr>
          </a:solidFill>
        </p:grpSpPr>
        <p:sp>
          <p:nvSpPr>
            <p:cNvPr id="8" name="AutoShape 103">
              <a:extLst>
                <a:ext uri="{FF2B5EF4-FFF2-40B4-BE49-F238E27FC236}">
                  <a16:creationId xmlns:a16="http://schemas.microsoft.com/office/drawing/2014/main" id="{68D371B1-55C2-483B-88F7-334895FB4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510" y="5009678"/>
              <a:ext cx="166688" cy="1095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660" y="0"/>
                  </a:moveTo>
                  <a:cubicBezTo>
                    <a:pt x="9461" y="0"/>
                    <a:pt x="0" y="9233"/>
                    <a:pt x="0" y="20160"/>
                  </a:cubicBezTo>
                  <a:cubicBezTo>
                    <a:pt x="0" y="20954"/>
                    <a:pt x="420" y="21600"/>
                    <a:pt x="939" y="21600"/>
                  </a:cubicBezTo>
                  <a:cubicBezTo>
                    <a:pt x="1457" y="21600"/>
                    <a:pt x="1878" y="20954"/>
                    <a:pt x="1878" y="20160"/>
                  </a:cubicBezTo>
                  <a:cubicBezTo>
                    <a:pt x="1878" y="10956"/>
                    <a:pt x="10655" y="2880"/>
                    <a:pt x="20660" y="2880"/>
                  </a:cubicBezTo>
                  <a:cubicBezTo>
                    <a:pt x="21179" y="2880"/>
                    <a:pt x="21600" y="2234"/>
                    <a:pt x="21600" y="1440"/>
                  </a:cubicBezTo>
                  <a:cubicBezTo>
                    <a:pt x="21600" y="645"/>
                    <a:pt x="21179" y="0"/>
                    <a:pt x="2066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sym typeface="Gill Sans" charset="0"/>
              </a:endParaRPr>
            </a:p>
          </p:txBody>
        </p:sp>
        <p:sp>
          <p:nvSpPr>
            <p:cNvPr id="9" name="AutoShape 104">
              <a:extLst>
                <a:ext uri="{FF2B5EF4-FFF2-40B4-BE49-F238E27FC236}">
                  <a16:creationId xmlns:a16="http://schemas.microsoft.com/office/drawing/2014/main" id="{61871B64-7C43-4193-87BA-1F80C9BB3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485" y="4937447"/>
              <a:ext cx="464344" cy="406400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16971"/>
                  </a:moveTo>
                  <a:cubicBezTo>
                    <a:pt x="10181" y="16971"/>
                    <a:pt x="9546" y="16918"/>
                    <a:pt x="8912" y="16811"/>
                  </a:cubicBezTo>
                  <a:cubicBezTo>
                    <a:pt x="8847" y="16800"/>
                    <a:pt x="8781" y="16794"/>
                    <a:pt x="8716" y="16794"/>
                  </a:cubicBezTo>
                  <a:cubicBezTo>
                    <a:pt x="8315" y="16794"/>
                    <a:pt x="7931" y="16999"/>
                    <a:pt x="7673" y="17359"/>
                  </a:cubicBezTo>
                  <a:cubicBezTo>
                    <a:pt x="7384" y="17761"/>
                    <a:pt x="6563" y="18657"/>
                    <a:pt x="5591" y="19318"/>
                  </a:cubicBezTo>
                  <a:cubicBezTo>
                    <a:pt x="5854" y="18628"/>
                    <a:pt x="6060" y="17853"/>
                    <a:pt x="6074" y="17056"/>
                  </a:cubicBezTo>
                  <a:cubicBezTo>
                    <a:pt x="6078" y="17006"/>
                    <a:pt x="6080" y="16956"/>
                    <a:pt x="6080" y="16914"/>
                  </a:cubicBezTo>
                  <a:cubicBezTo>
                    <a:pt x="6080" y="16334"/>
                    <a:pt x="5796" y="15803"/>
                    <a:pt x="5344" y="15540"/>
                  </a:cubicBezTo>
                  <a:cubicBezTo>
                    <a:pt x="2843" y="14080"/>
                    <a:pt x="1349" y="11731"/>
                    <a:pt x="1349" y="9257"/>
                  </a:cubicBezTo>
                  <a:cubicBezTo>
                    <a:pt x="1349" y="5003"/>
                    <a:pt x="5588" y="1542"/>
                    <a:pt x="10800" y="1542"/>
                  </a:cubicBezTo>
                  <a:cubicBezTo>
                    <a:pt x="16011" y="1542"/>
                    <a:pt x="20249" y="5003"/>
                    <a:pt x="20249" y="9257"/>
                  </a:cubicBezTo>
                  <a:cubicBezTo>
                    <a:pt x="20249" y="13510"/>
                    <a:pt x="16011" y="16971"/>
                    <a:pt x="10800" y="16971"/>
                  </a:cubicBezTo>
                  <a:moveTo>
                    <a:pt x="10800" y="0"/>
                  </a:moveTo>
                  <a:cubicBezTo>
                    <a:pt x="4835" y="0"/>
                    <a:pt x="0" y="4144"/>
                    <a:pt x="0" y="9257"/>
                  </a:cubicBezTo>
                  <a:cubicBezTo>
                    <a:pt x="0" y="12440"/>
                    <a:pt x="1875" y="15248"/>
                    <a:pt x="4730" y="16914"/>
                  </a:cubicBezTo>
                  <a:cubicBezTo>
                    <a:pt x="4730" y="16935"/>
                    <a:pt x="4724" y="16949"/>
                    <a:pt x="4724" y="16971"/>
                  </a:cubicBezTo>
                  <a:cubicBezTo>
                    <a:pt x="4724" y="18354"/>
                    <a:pt x="3821" y="19843"/>
                    <a:pt x="3423" y="20625"/>
                  </a:cubicBezTo>
                  <a:lnTo>
                    <a:pt x="3425" y="20625"/>
                  </a:lnTo>
                  <a:cubicBezTo>
                    <a:pt x="3393" y="20709"/>
                    <a:pt x="3374" y="20802"/>
                    <a:pt x="3374" y="20900"/>
                  </a:cubicBezTo>
                  <a:cubicBezTo>
                    <a:pt x="3374" y="21287"/>
                    <a:pt x="3648" y="21600"/>
                    <a:pt x="3986" y="21600"/>
                  </a:cubicBezTo>
                  <a:cubicBezTo>
                    <a:pt x="4049" y="21600"/>
                    <a:pt x="4161" y="21580"/>
                    <a:pt x="4158" y="21590"/>
                  </a:cubicBezTo>
                  <a:cubicBezTo>
                    <a:pt x="6268" y="21195"/>
                    <a:pt x="8255" y="18979"/>
                    <a:pt x="8716" y="18338"/>
                  </a:cubicBezTo>
                  <a:cubicBezTo>
                    <a:pt x="9391" y="18451"/>
                    <a:pt x="10086" y="18514"/>
                    <a:pt x="10800" y="18514"/>
                  </a:cubicBezTo>
                  <a:cubicBezTo>
                    <a:pt x="16764" y="18514"/>
                    <a:pt x="21600" y="14369"/>
                    <a:pt x="21600" y="9257"/>
                  </a:cubicBezTo>
                  <a:cubicBezTo>
                    <a:pt x="21600" y="4144"/>
                    <a:pt x="16764" y="0"/>
                    <a:pt x="1080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sym typeface="Gill Sans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B5FF947-FA6F-41FB-96D3-BD74DEA0A81D}"/>
              </a:ext>
            </a:extLst>
          </p:cNvPr>
          <p:cNvSpPr txBox="1"/>
          <p:nvPr userDrawn="1"/>
        </p:nvSpPr>
        <p:spPr>
          <a:xfrm>
            <a:off x="189581" y="6442854"/>
            <a:ext cx="2462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prstClr val="white">
                    <a:lumMod val="65000"/>
                  </a:prstClr>
                </a:solidFill>
              </a:rPr>
              <a:t>Creative</a:t>
            </a:r>
            <a:r>
              <a:rPr lang="en-US" sz="1400" dirty="0">
                <a:solidFill>
                  <a:prstClr val="white">
                    <a:lumMod val="85000"/>
                  </a:prstClr>
                </a:solidFill>
              </a:rPr>
              <a:t> presentation templ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12BCC8-6E91-4615-8B43-FD2069D846C0}"/>
              </a:ext>
            </a:extLst>
          </p:cNvPr>
          <p:cNvSpPr txBox="1"/>
          <p:nvPr userDrawn="1"/>
        </p:nvSpPr>
        <p:spPr>
          <a:xfrm rot="5400000">
            <a:off x="10082777" y="3275112"/>
            <a:ext cx="36167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spc="300" dirty="0">
                <a:solidFill>
                  <a:prstClr val="white">
                    <a:lumMod val="95000"/>
                  </a:prstClr>
                </a:solidFill>
              </a:rPr>
              <a:t>Creative presentation template</a:t>
            </a:r>
          </a:p>
        </p:txBody>
      </p:sp>
    </p:spTree>
    <p:extLst>
      <p:ext uri="{BB962C8B-B14F-4D97-AF65-F5344CB8AC3E}">
        <p14:creationId xmlns:p14="http://schemas.microsoft.com/office/powerpoint/2010/main" val="2493133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.gif"/><Relationship Id="rId5" Type="http://schemas.openxmlformats.org/officeDocument/2006/relationships/image" Target="../media/image2.jpeg"/><Relationship Id="rId4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9.png"/><Relationship Id="rId3" Type="http://schemas.openxmlformats.org/officeDocument/2006/relationships/image" Target="../media/image18.png"/><Relationship Id="rId7" Type="http://schemas.openxmlformats.org/officeDocument/2006/relationships/image" Target="../media/image23.jpeg"/><Relationship Id="rId12" Type="http://schemas.openxmlformats.org/officeDocument/2006/relationships/image" Target="../media/image2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.gif"/><Relationship Id="rId11" Type="http://schemas.openxmlformats.org/officeDocument/2006/relationships/image" Target="../media/image27.jpeg"/><Relationship Id="rId5" Type="http://schemas.openxmlformats.org/officeDocument/2006/relationships/image" Target="../media/image2.jpeg"/><Relationship Id="rId10" Type="http://schemas.openxmlformats.org/officeDocument/2006/relationships/image" Target="../media/image26.jpeg"/><Relationship Id="rId4" Type="http://schemas.openxmlformats.org/officeDocument/2006/relationships/image" Target="../media/image1.png"/><Relationship Id="rId9" Type="http://schemas.openxmlformats.org/officeDocument/2006/relationships/image" Target="../media/image2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1.pn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jpeg"/><Relationship Id="rId5" Type="http://schemas.openxmlformats.org/officeDocument/2006/relationships/image" Target="../media/image3.gif"/><Relationship Id="rId10" Type="http://schemas.openxmlformats.org/officeDocument/2006/relationships/image" Target="../media/image17.jpeg"/><Relationship Id="rId4" Type="http://schemas.openxmlformats.org/officeDocument/2006/relationships/image" Target="../media/image2.jpeg"/><Relationship Id="rId9" Type="http://schemas.openxmlformats.org/officeDocument/2006/relationships/image" Target="../media/image33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1.pn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.jpeg"/><Relationship Id="rId5" Type="http://schemas.openxmlformats.org/officeDocument/2006/relationships/image" Target="../media/image3.gif"/><Relationship Id="rId4" Type="http://schemas.openxmlformats.org/officeDocument/2006/relationships/image" Target="../media/image2.jpeg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.g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chart" Target="../charts/chart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1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hyperlink" Target="tel:8-496-79-7-47-88" TargetMode="External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.gif"/><Relationship Id="rId5" Type="http://schemas.openxmlformats.org/officeDocument/2006/relationships/image" Target="../media/image2.jpeg"/><Relationship Id="rId4" Type="http://schemas.openxmlformats.org/officeDocument/2006/relationships/image" Target="../media/image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3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.jpeg"/><Relationship Id="rId5" Type="http://schemas.openxmlformats.org/officeDocument/2006/relationships/image" Target="../media/image8.jpeg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.gi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domodkrsch.edumsko.ru/activity/profil/predprinimatel/doc/1524515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.gif"/><Relationship Id="rId5" Type="http://schemas.openxmlformats.org/officeDocument/2006/relationships/image" Target="../media/image2.jpeg"/><Relationship Id="rId4" Type="http://schemas.openxmlformats.org/officeDocument/2006/relationships/image" Target="../media/image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.gi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41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.gi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g"/><Relationship Id="rId3" Type="http://schemas.openxmlformats.org/officeDocument/2006/relationships/image" Target="../media/image2.jpeg"/><Relationship Id="rId7" Type="http://schemas.openxmlformats.org/officeDocument/2006/relationships/image" Target="../media/image44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jpg"/><Relationship Id="rId5" Type="http://schemas.openxmlformats.org/officeDocument/2006/relationships/image" Target="../media/image42.jpg"/><Relationship Id="rId4" Type="http://schemas.openxmlformats.org/officeDocument/2006/relationships/image" Target="../media/image3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image" Target="../media/image1.png"/><Relationship Id="rId7" Type="http://schemas.openxmlformats.org/officeDocument/2006/relationships/image" Target="../media/image47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6.jpeg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1.png"/><Relationship Id="rId7" Type="http://schemas.openxmlformats.org/officeDocument/2006/relationships/image" Target="../media/image50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9.jpeg"/><Relationship Id="rId5" Type="http://schemas.openxmlformats.org/officeDocument/2006/relationships/image" Target="../media/image3.gif"/><Relationship Id="rId4" Type="http://schemas.openxmlformats.org/officeDocument/2006/relationships/image" Target="../media/image2.jpeg"/><Relationship Id="rId9" Type="http://schemas.openxmlformats.org/officeDocument/2006/relationships/image" Target="../media/image41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1.png"/><Relationship Id="rId7" Type="http://schemas.openxmlformats.org/officeDocument/2006/relationships/image" Target="../media/image5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2.jpeg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1.png"/><Relationship Id="rId7" Type="http://schemas.openxmlformats.org/officeDocument/2006/relationships/image" Target="../media/image56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5.jpg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g"/><Relationship Id="rId3" Type="http://schemas.openxmlformats.org/officeDocument/2006/relationships/image" Target="../media/image1.png"/><Relationship Id="rId7" Type="http://schemas.openxmlformats.org/officeDocument/2006/relationships/image" Target="../media/image59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8.jpg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1.jpg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image" Target="../media/image1.png"/><Relationship Id="rId7" Type="http://schemas.openxmlformats.org/officeDocument/2006/relationships/image" Target="../media/image63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2.jpeg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image" Target="../media/image65.png"/><Relationship Id="rId7" Type="http://schemas.openxmlformats.org/officeDocument/2006/relationships/image" Target="../media/image66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.gif"/><Relationship Id="rId5" Type="http://schemas.openxmlformats.org/officeDocument/2006/relationships/image" Target="../media/image2.jpeg"/><Relationship Id="rId4" Type="http://schemas.openxmlformats.org/officeDocument/2006/relationships/image" Target="../media/image1.png"/><Relationship Id="rId9" Type="http://schemas.openxmlformats.org/officeDocument/2006/relationships/image" Target="../media/image68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image" Target="../media/image69.png"/><Relationship Id="rId7" Type="http://schemas.openxmlformats.org/officeDocument/2006/relationships/image" Target="../media/image70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.gif"/><Relationship Id="rId5" Type="http://schemas.openxmlformats.org/officeDocument/2006/relationships/image" Target="../media/image2.jpeg"/><Relationship Id="rId10" Type="http://schemas.openxmlformats.org/officeDocument/2006/relationships/image" Target="../media/image73.jpeg"/><Relationship Id="rId4" Type="http://schemas.openxmlformats.org/officeDocument/2006/relationships/image" Target="../media/image1.png"/><Relationship Id="rId9" Type="http://schemas.openxmlformats.org/officeDocument/2006/relationships/image" Target="../media/image72.jpe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3" Type="http://schemas.openxmlformats.org/officeDocument/2006/relationships/image" Target="../media/image1.png"/><Relationship Id="rId7" Type="http://schemas.openxmlformats.org/officeDocument/2006/relationships/image" Target="../media/image75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4.jpeg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tel:8-496-79-7-47-88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.jpeg"/><Relationship Id="rId5" Type="http://schemas.openxmlformats.org/officeDocument/2006/relationships/image" Target="../media/image77.png"/><Relationship Id="rId4" Type="http://schemas.openxmlformats.org/officeDocument/2006/relationships/hyperlink" Target="https://domodkrsch.edumsko.ru/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.gi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jpeg"/><Relationship Id="rId11" Type="http://schemas.openxmlformats.org/officeDocument/2006/relationships/image" Target="../media/image13.jpeg"/><Relationship Id="rId5" Type="http://schemas.openxmlformats.org/officeDocument/2006/relationships/image" Target="../media/image1.png"/><Relationship Id="rId10" Type="http://schemas.openxmlformats.org/officeDocument/2006/relationships/image" Target="../media/image12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2.jpeg"/><Relationship Id="rId7" Type="http://schemas.openxmlformats.org/officeDocument/2006/relationships/image" Target="../media/image1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3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8.pn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.gif"/><Relationship Id="rId5" Type="http://schemas.openxmlformats.org/officeDocument/2006/relationships/image" Target="../media/image2.jpeg"/><Relationship Id="rId4" Type="http://schemas.openxmlformats.org/officeDocument/2006/relationships/image" Target="../media/image1.png"/><Relationship Id="rId9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3">
            <a:extLst>
              <a:ext uri="{FF2B5EF4-FFF2-40B4-BE49-F238E27FC236}">
                <a16:creationId xmlns:a16="http://schemas.microsoft.com/office/drawing/2014/main" id="{202263E0-DD2A-418D-BEFC-0645BB6813CF}"/>
              </a:ext>
            </a:extLst>
          </p:cNvPr>
          <p:cNvSpPr/>
          <p:nvPr/>
        </p:nvSpPr>
        <p:spPr>
          <a:xfrm>
            <a:off x="0" y="0"/>
            <a:ext cx="12130529" cy="2552941"/>
          </a:xfrm>
          <a:prstGeom prst="rect">
            <a:avLst/>
          </a:prstGeom>
          <a:pattFill prst="pct25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86"/>
          <p:cNvSpPr/>
          <p:nvPr/>
        </p:nvSpPr>
        <p:spPr>
          <a:xfrm rot="900000">
            <a:off x="408418" y="349827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935282" y="539522"/>
            <a:ext cx="74478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dirty="0">
                <a:solidFill>
                  <a:schemeClr val="bg1"/>
                </a:solidFill>
                <a:latin typeface="Arial Black" panose="020B0A04020102020204" pitchFamily="34" charset="0"/>
              </a:rPr>
              <a:t>МАОУ Краснопутьская СОШ</a:t>
            </a:r>
            <a:endParaRPr lang="en-US" sz="32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525395" y="1047222"/>
            <a:ext cx="39614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spc="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одской округ Домодедово</a:t>
            </a:r>
            <a:endParaRPr lang="en-US" sz="1400" spc="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6769198" y="2743898"/>
            <a:ext cx="3508592" cy="24806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tabLst>
                <a:tab pos="719138" algn="l"/>
                <a:tab pos="808038" algn="l"/>
              </a:tabLst>
            </a:pP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Образование</a:t>
            </a:r>
          </a:p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ребёнка</a:t>
            </a:r>
          </a:p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в современных социокультурных</a:t>
            </a:r>
          </a:p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условиях</a:t>
            </a:r>
            <a:endParaRPr lang="en-US" sz="3200" dirty="0">
              <a:solidFill>
                <a:srgbClr val="5D5B6F">
                  <a:alpha val="6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 rot="21084798">
            <a:off x="-630949" y="2770320"/>
            <a:ext cx="152400" cy="92750"/>
            <a:chOff x="4644062" y="1406997"/>
            <a:chExt cx="152400" cy="92750"/>
          </a:xfrm>
        </p:grpSpPr>
        <p:cxnSp>
          <p:nvCxnSpPr>
            <p:cNvPr id="63" name="Прямая соединительная линия 62"/>
            <p:cNvCxnSpPr/>
            <p:nvPr/>
          </p:nvCxnSpPr>
          <p:spPr>
            <a:xfrm>
              <a:off x="4644062" y="1406997"/>
              <a:ext cx="1524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Прямая соединительная линия 63"/>
            <p:cNvCxnSpPr/>
            <p:nvPr/>
          </p:nvCxnSpPr>
          <p:spPr>
            <a:xfrm>
              <a:off x="4644062" y="1453372"/>
              <a:ext cx="1524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Прямая соединительная линия 67"/>
            <p:cNvCxnSpPr/>
            <p:nvPr/>
          </p:nvCxnSpPr>
          <p:spPr>
            <a:xfrm>
              <a:off x="4644062" y="1499747"/>
              <a:ext cx="1524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Прямоугольник 73"/>
          <p:cNvSpPr/>
          <p:nvPr/>
        </p:nvSpPr>
        <p:spPr>
          <a:xfrm rot="21399589">
            <a:off x="171101" y="2157185"/>
            <a:ext cx="2682394" cy="32702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TextBox 80"/>
          <p:cNvSpPr txBox="1"/>
          <p:nvPr/>
        </p:nvSpPr>
        <p:spPr>
          <a:xfrm>
            <a:off x="7154389" y="1583506"/>
            <a:ext cx="2360258" cy="8680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pc="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тое</a:t>
            </a:r>
          </a:p>
          <a:p>
            <a:r>
              <a:rPr lang="ru-RU" spc="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дительское</a:t>
            </a:r>
          </a:p>
          <a:p>
            <a:r>
              <a:rPr lang="ru-RU" spc="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рание</a:t>
            </a:r>
            <a:endParaRPr lang="en-US" kern="2000" spc="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6" name="Группа 85"/>
          <p:cNvGrpSpPr/>
          <p:nvPr/>
        </p:nvGrpSpPr>
        <p:grpSpPr>
          <a:xfrm rot="16200000">
            <a:off x="6694965" y="1858309"/>
            <a:ext cx="318451" cy="318451"/>
            <a:chOff x="2862906" y="4174175"/>
            <a:chExt cx="526727" cy="526727"/>
          </a:xfrm>
        </p:grpSpPr>
        <p:sp>
          <p:nvSpPr>
            <p:cNvPr id="87" name="Oval 32"/>
            <p:cNvSpPr/>
            <p:nvPr/>
          </p:nvSpPr>
          <p:spPr>
            <a:xfrm>
              <a:off x="2862906" y="4174175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/>
            </a:p>
          </p:txBody>
        </p:sp>
        <p:sp>
          <p:nvSpPr>
            <p:cNvPr id="88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/>
            </a:p>
          </p:txBody>
        </p:sp>
      </p:grpSp>
      <p:sp>
        <p:nvSpPr>
          <p:cNvPr id="73" name="Прямоугольник 72"/>
          <p:cNvSpPr/>
          <p:nvPr/>
        </p:nvSpPr>
        <p:spPr>
          <a:xfrm rot="21399589">
            <a:off x="105545" y="2225693"/>
            <a:ext cx="2682395" cy="84767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5" name="Группа 74"/>
          <p:cNvGrpSpPr/>
          <p:nvPr/>
        </p:nvGrpSpPr>
        <p:grpSpPr>
          <a:xfrm rot="21399589">
            <a:off x="705076" y="2215545"/>
            <a:ext cx="152400" cy="92750"/>
            <a:chOff x="4644062" y="1406997"/>
            <a:chExt cx="152400" cy="92750"/>
          </a:xfrm>
        </p:grpSpPr>
        <p:cxnSp>
          <p:nvCxnSpPr>
            <p:cNvPr id="78" name="Прямая соединительная линия 77"/>
            <p:cNvCxnSpPr/>
            <p:nvPr/>
          </p:nvCxnSpPr>
          <p:spPr>
            <a:xfrm>
              <a:off x="4644062" y="1406997"/>
              <a:ext cx="1524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Прямая соединительная линия 78"/>
            <p:cNvCxnSpPr/>
            <p:nvPr/>
          </p:nvCxnSpPr>
          <p:spPr>
            <a:xfrm>
              <a:off x="4644062" y="1453372"/>
              <a:ext cx="1524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Прямая соединительная линия 79"/>
            <p:cNvCxnSpPr/>
            <p:nvPr/>
          </p:nvCxnSpPr>
          <p:spPr>
            <a:xfrm>
              <a:off x="4644062" y="1499747"/>
              <a:ext cx="1524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Прямоугольник 76"/>
          <p:cNvSpPr/>
          <p:nvPr/>
        </p:nvSpPr>
        <p:spPr>
          <a:xfrm rot="21399589">
            <a:off x="69854" y="1973333"/>
            <a:ext cx="2675283" cy="242047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8" name="Группа 27"/>
          <p:cNvGrpSpPr/>
          <p:nvPr/>
        </p:nvGrpSpPr>
        <p:grpSpPr>
          <a:xfrm>
            <a:off x="10081377" y="-72445"/>
            <a:ext cx="2115328" cy="6930444"/>
            <a:chOff x="10081377" y="-72445"/>
            <a:chExt cx="2115328" cy="6930444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10282677" y="-72445"/>
              <a:ext cx="1914028" cy="6930444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31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Рисунок 31"/>
            <p:cNvPicPr>
              <a:picLocks noChangeAspect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80447">
            <a:off x="253758" y="2556496"/>
            <a:ext cx="2477602" cy="185820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2888" y="2418808"/>
            <a:ext cx="2894980" cy="3013729"/>
          </a:xfrm>
          <a:prstGeom prst="rect">
            <a:avLst/>
          </a:prstGeom>
        </p:spPr>
      </p:pic>
      <p:pic>
        <p:nvPicPr>
          <p:cNvPr id="84" name="Picture 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3789" y="1614420"/>
            <a:ext cx="3340689" cy="4739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3458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1530865" y="682642"/>
            <a:ext cx="81352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E78A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 педагогического труда</a:t>
            </a:r>
            <a:endParaRPr lang="ru-RU" sz="1050" spc="600" dirty="0">
              <a:solidFill>
                <a:srgbClr val="0E78A7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65" y="190083"/>
            <a:ext cx="1356909" cy="1372994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2156909" y="2184400"/>
            <a:ext cx="143532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Гунина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Тамара Викторовн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тарший воспитатель, почетный работник общего образования РФ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46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Рисунок 46"/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48" name="Рисунок 47"/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033C956-C0B3-4037-809C-05E49C0C1C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388" y="2114098"/>
            <a:ext cx="1701634" cy="246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2532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1530865" y="682642"/>
            <a:ext cx="81352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E78A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 педагогического труда</a:t>
            </a:r>
            <a:endParaRPr lang="ru-RU" sz="1050" spc="600" dirty="0">
              <a:solidFill>
                <a:srgbClr val="0E78A7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65" y="190083"/>
            <a:ext cx="1356909" cy="137299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462572" y="1948700"/>
            <a:ext cx="136076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Найденкова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Ирина Борисовн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читель русского языка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3970779" y="2056421"/>
            <a:ext cx="132973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Сафронюк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Оксана Михайловн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читель географи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482497" y="1948700"/>
            <a:ext cx="143532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Зюзина Татьяна Сергеевн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читель химии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46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Рисунок 46"/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48" name="Рисунок 47"/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1982793" y="1281347"/>
            <a:ext cx="81352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pc="600" dirty="0">
                <a:solidFill>
                  <a:srgbClr val="0E78A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четная грамота Министерства образования и науки Российской Федерации </a:t>
            </a:r>
            <a:endParaRPr lang="ru-RU" spc="600" dirty="0">
              <a:solidFill>
                <a:srgbClr val="0E78A7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 descr="https://downloader.disk.yandex.ru/preview/4d0631275e66403dccbd85b88f683125e2bffd62d3f03f5c93493e3bd4df5592/64502aeb/ZPmVzE8bxl-1BoTn7OXBDZGE17eqk2KS2kIENttq5W6bVeXflKNAMaUdIauMv-lAgA7aNvXMxPnXBG89BFA-jw%3D%3D?uid=0&amp;filename=%D0%97%D1%8E%D0%B7%D0%B8%D0%BD%D0%B0%20%D0%A2%D0%B0%D1%82%D1%8C%D1%8F%D0%BD%D0%B0%20%D0%A1%D0%B5%D1%80%D0%B3%D0%B5%D0%B5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316" y="1948700"/>
            <a:ext cx="1127763" cy="1693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s://downloader.disk.yandex.ru/preview/f1bbc22c9a816da43c3de79a38b5c7cda753fdf3ba56e7e5c710e4740a0c38f1/64502aeb/60zT0dPLfmCZ3HrpyAWxe_2ibNXbOSpPXeBsQxQ2HgXMgStYYqRzfMC6oTnwC5KPBBnY7eNwRUfewyL3aszHzg%3D%3D?uid=0&amp;filename=%D0%A1%D0%B0%D1%84%D1%80%D0%BE%D0%BD%D1%8E%D0%BA%20%D0%9E%D0%BA%D1%81%D0%B0%D0%BD%D0%B0%20%D0%9C%D0%B8%D1%85%D0%B0%D0%B9%D0%BB%D0%BE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4603" y="1959992"/>
            <a:ext cx="1120244" cy="1682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downloader.disk.yandex.ru/preview/94d829f8511167a9db80666322ac62ea776b762a5bcd6b47a8e88663e899466c/64502aeb/cGOFc3pyWU0e2DRP7-6m4BTea4s12zx91JfZKffGlPMD_Rb9LPNGhJbq1wfe4rKn4ktmb6p4y6RZdl94hjIaKw%3D%3D?uid=0&amp;filename=%D0%9D%D0%B0%D0%B9%D0%B4%D0%B5%D0%BD%D0%BA%D0%BE%D0%B2%D0%B0%20%D0%98%D1%80%D0%B8%D0%BD%D0%B0%20%D0%91%D0%BE%D1%80%D0%B8%D1%81%D0%BE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6094" y="1959993"/>
            <a:ext cx="1120243" cy="1682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s://downloader.disk.yandex.ru/preview/420c05d6e850ff590efc50565041fb930ab63aaf0d488e1a01589c179158c131/64502aeb/a0xhWVH3SCFkFrD-PDhuYpGE17eqk2KS2kIENttq5W6VOXKi_SSaeid6aDDuNq73PnGhwcZB22MozJj5RGkkFA%3D%3D?uid=0&amp;filename=%D0%94%D0%B8%D0%B4%D0%B5%D0%BD%D0%BA%D0%BE%20%D0%95%D0%BA%D0%B0%D1%82%D0%B5%D1%80%D0%B8%D0%BD%D0%B0%20%D0%92%D0%B8%D0%BA%D1%82%D0%BE%D1%80%D0%BE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8232" y="1990471"/>
            <a:ext cx="1127630" cy="1651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8891105" y="1990472"/>
            <a:ext cx="132973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Диденко Екатерина Викторовн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читель физики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535292" y="4702430"/>
            <a:ext cx="132973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Аверина Татьяна Ивановн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читель начальных классов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601815" y="4697937"/>
            <a:ext cx="132973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Юдина Ольга Николаевн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читель ИЗО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121349" y="4697937"/>
            <a:ext cx="132973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Филаткина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Лидия Тимофеевн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читель русского языка</a:t>
            </a:r>
          </a:p>
        </p:txBody>
      </p:sp>
      <p:pic>
        <p:nvPicPr>
          <p:cNvPr id="3084" name="Picture 12" descr="https://downloader.disk.yandex.ru/preview/9957792296fc5e4506aa5fd5978d2b5663721aee46d7d9b029bd3061bc470e3e/64503d51/F2ms0ZQF5OCNp8l9T0k98T9JxGGBHx19TMjFU_67IS8SXWuTwo-vikdFvt3HxIznNoIrtd7NvNT9N8SAg3hE0A%3D%3D?uid=0&amp;filename=%D0%AE%D0%B4%D0%B8%D0%BD%D0%B0%20%D0%9E%D0%BB%D1%8C%D0%B3%D0%B0%20%D0%9D%D0%B8%D0%BA%D0%BE%D0%BB%D0%B0%D0%B5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2566" y="4569948"/>
            <a:ext cx="1118119" cy="1694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https://downloader.disk.yandex.ru/preview/5a97184b16c77f3bb5b878be1589e9f1da2272bef1330fdc8ffd429ab5f50f89/64502aeb/IgrRllGiZVHqJgOeQBlYQlNHAVAKz471kdKjKreevle66Lgu9buGC54dAeY_ro_IyHZ2woXupfxxDbfaqMr3EQ%3D%3D?uid=0&amp;filename=%D0%A4%D0%B8%D0%BB%D0%B0%D1%82%D0%BA%D0%B8%D0%BD%D0%B0%20%D0%9B%D0%B8%D0%B4%D0%B8%D1%8F%20%D0%A2%D0%B8%D0%BC%D0%BE%D1%84%D0%B5%D0%B5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7630" y="4639851"/>
            <a:ext cx="1167817" cy="1753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3"/>
          <a:srcRect l="12341" t="7292" r="19988" b="23958"/>
          <a:stretch/>
        </p:blipFill>
        <p:spPr>
          <a:xfrm>
            <a:off x="344829" y="4561536"/>
            <a:ext cx="1185576" cy="1657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2848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 flipH="1">
            <a:off x="3853990" y="6202946"/>
            <a:ext cx="6123151" cy="239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ru-RU" sz="1550" spc="300" dirty="0">
                <a:solidFill>
                  <a:schemeClr val="tx1">
                    <a:lumMod val="95000"/>
                    <a:lumOff val="5000"/>
                    <a:alpha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х и муниципальных конкурсов</a:t>
            </a:r>
            <a:endParaRPr lang="en-US" sz="1550" spc="300" dirty="0">
              <a:solidFill>
                <a:schemeClr val="tx1">
                  <a:lumMod val="95000"/>
                  <a:lumOff val="5000"/>
                  <a:alpha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815331" y="5692878"/>
            <a:ext cx="6123151" cy="3452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000"/>
              </a:lnSpc>
            </a:pPr>
            <a:r>
              <a:rPr lang="ru-RU" sz="4000" dirty="0">
                <a:solidFill>
                  <a:srgbClr val="089E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бедители и призёры</a:t>
            </a:r>
            <a:endParaRPr lang="en-US" sz="4000" kern="2000" dirty="0">
              <a:solidFill>
                <a:srgbClr val="089E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1061491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ые конкурсы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AutoShape 4" descr="IMG-20230324-WA0018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6" descr="IMG-20230324-WA0018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8" descr="IMG-20230324-WA0018.jp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41" name="Группа 40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42" name="Прямоугольник 41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50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Рисунок 53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sp>
        <p:nvSpPr>
          <p:cNvPr id="26" name="Oval 25"/>
          <p:cNvSpPr/>
          <p:nvPr/>
        </p:nvSpPr>
        <p:spPr>
          <a:xfrm>
            <a:off x="8095174" y="3870802"/>
            <a:ext cx="205558" cy="205558"/>
          </a:xfrm>
          <a:prstGeom prst="ellipse">
            <a:avLst/>
          </a:pr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7"/>
          <p:cNvSpPr/>
          <p:nvPr/>
        </p:nvSpPr>
        <p:spPr>
          <a:xfrm>
            <a:off x="3976989" y="4444803"/>
            <a:ext cx="267240" cy="52224"/>
          </a:xfrm>
          <a:prstGeom prst="rect">
            <a:avLst/>
          </a:pr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манда педагогов 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егиональная олимпиада по функциональной грамотности для педагогов</a:t>
            </a:r>
          </a:p>
        </p:txBody>
      </p:sp>
      <p:sp>
        <p:nvSpPr>
          <p:cNvPr id="27" name="Oval 26"/>
          <p:cNvSpPr/>
          <p:nvPr/>
        </p:nvSpPr>
        <p:spPr>
          <a:xfrm>
            <a:off x="1863849" y="2909938"/>
            <a:ext cx="205558" cy="205558"/>
          </a:xfrm>
          <a:prstGeom prst="ellipse">
            <a:avLst/>
          </a:prstGeom>
          <a:solidFill>
            <a:srgbClr val="2E66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8"/>
          <p:cNvSpPr/>
          <p:nvPr/>
        </p:nvSpPr>
        <p:spPr>
          <a:xfrm>
            <a:off x="1980584" y="3651073"/>
            <a:ext cx="1589821" cy="1695928"/>
          </a:xfrm>
          <a:prstGeom prst="rect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крипов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Юлия Сергеевна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зер конкурса методик «Реализации программы «Разговоры о правильном питании»</a:t>
            </a:r>
          </a:p>
        </p:txBody>
      </p:sp>
      <p:sp>
        <p:nvSpPr>
          <p:cNvPr id="36" name="Rectangle 9"/>
          <p:cNvSpPr/>
          <p:nvPr/>
        </p:nvSpPr>
        <p:spPr>
          <a:xfrm>
            <a:off x="5118541" y="3690951"/>
            <a:ext cx="1633325" cy="1604004"/>
          </a:xfrm>
          <a:prstGeom prst="rect">
            <a:avLst/>
          </a:prstGeom>
          <a:solidFill>
            <a:srgbClr val="4C9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Лапкин Олег Олегович</a:t>
            </a:r>
          </a:p>
          <a:p>
            <a:pPr lvl="0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зер олимпиады учителей информатики «ПРО-IT» (очный этап)</a:t>
            </a:r>
          </a:p>
        </p:txBody>
      </p:sp>
      <p:sp>
        <p:nvSpPr>
          <p:cNvPr id="37" name="Oval 27"/>
          <p:cNvSpPr/>
          <p:nvPr/>
        </p:nvSpPr>
        <p:spPr>
          <a:xfrm>
            <a:off x="4999409" y="3870802"/>
            <a:ext cx="205558" cy="205558"/>
          </a:xfrm>
          <a:prstGeom prst="ellipse">
            <a:avLst/>
          </a:prstGeom>
          <a:solidFill>
            <a:srgbClr val="4C9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27"/>
          <p:cNvSpPr/>
          <p:nvPr/>
        </p:nvSpPr>
        <p:spPr>
          <a:xfrm>
            <a:off x="5008462" y="2969943"/>
            <a:ext cx="205558" cy="205558"/>
          </a:xfrm>
          <a:prstGeom prst="ellipse">
            <a:avLst/>
          </a:prstGeom>
          <a:solidFill>
            <a:srgbClr val="5D5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8077068" y="2909938"/>
            <a:ext cx="205558" cy="205558"/>
          </a:xfrm>
          <a:prstGeom prst="ellipse">
            <a:avLst/>
          </a:prstGeom>
          <a:solidFill>
            <a:srgbClr val="0789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5"/>
          <p:cNvSpPr/>
          <p:nvPr/>
        </p:nvSpPr>
        <p:spPr>
          <a:xfrm>
            <a:off x="8187442" y="2185698"/>
            <a:ext cx="1789699" cy="1534762"/>
          </a:xfrm>
          <a:prstGeom prst="rect">
            <a:avLst/>
          </a:prstGeom>
          <a:solidFill>
            <a:srgbClr val="0789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озднякова Евгения Викторовна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бедитель муниципального этапа конкурса «Педагог-психолог»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9"/>
          <p:cNvSpPr/>
          <p:nvPr/>
        </p:nvSpPr>
        <p:spPr>
          <a:xfrm>
            <a:off x="5118759" y="2179322"/>
            <a:ext cx="1553665" cy="1560042"/>
          </a:xfrm>
          <a:prstGeom prst="rect">
            <a:avLst/>
          </a:prstGeom>
          <a:solidFill>
            <a:srgbClr val="5D5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Прибылов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Мария Валерьевна</a:t>
            </a:r>
          </a:p>
          <a:p>
            <a:pPr lvl="0"/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Победитель конкурса «Учеба-профессия-успех»</a:t>
            </a:r>
          </a:p>
        </p:txBody>
      </p:sp>
      <p:pic>
        <p:nvPicPr>
          <p:cNvPr id="2" name="Picture 2" descr="https://downloader.disk.yandex.ru/preview/cec3040cf58613e4912f518495e02940bbc63ae72c85e54e111945b0c9fd56f6/64504892/0WI42OoTqZ2acxNDybgEex5v58jIOcYEDfjO2TrNB4Qql2g-x3-xJMDWWpK6aOhdW6xapJGCkcasGtOtiO4iug%3D%3D?uid=0&amp;filename=%D0%A4%D0%B8%D0%BB%D0%B0%D1%82%D0%BE%D0%B2%D0%B0%20%D0%9D%D0%B0%D1%82%D0%B0%D0%BB%D1%8C%D1%8F%20%D0%92%D0%B0%D0%BB%D0%B5%D1%80%D1%8C%D0%B5%D0%B2%D0%BD%D0%B0-%D0%BC%D0%B0%D1%82%D0%B5%D0%BC%D0%B0%D1%82%D0%B8%D0%BA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64" r="-715" b="26485"/>
          <a:stretch/>
        </p:blipFill>
        <p:spPr bwMode="auto">
          <a:xfrm>
            <a:off x="499788" y="2185698"/>
            <a:ext cx="1491746" cy="1540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0"/>
          <p:cNvSpPr/>
          <p:nvPr/>
        </p:nvSpPr>
        <p:spPr>
          <a:xfrm>
            <a:off x="1985341" y="2185698"/>
            <a:ext cx="1575290" cy="153476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dirty="0"/>
              <a:t>Филатова Наталья Валерьевна</a:t>
            </a:r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ер конкурса творческих работ «Педагогический старт» </a:t>
            </a:r>
          </a:p>
        </p:txBody>
      </p:sp>
      <p:pic>
        <p:nvPicPr>
          <p:cNvPr id="4100" name="Picture 4" descr="https://downloader.disk.yandex.ru/preview/9d04f0df05be7a2681678e421e9e74849a72fac1c11955f754757a320d9486af/64502aeb/pqdHvM9hQQmlcZYVVOAxB_nh3rFOJCySS4hGa0DbSk091PhbwITUTe5cUfdDhm0OfgI9sgghiW4bYq1-2nLM8g%3D%3D?uid=0&amp;filename=%D0%9F%D0%BE%D0%B7%D0%B4%D0%BD%D1%8F%D0%BA%D0%BE%D0%B2%D0%B0%20%D0%95%D0%B2%D0%B3%D0%B5%D0%BD%D0%B8%D1%8F%20%D0%92%D0%B8%D0%BA%D1%82%D0%BE%D1%80%D0%BE%D0%B2%D0%BD%D0%B0-%D0%BF%D1%81%D0%B8%D1%85%D0%BE%D0%BB%D0%BE%D0%B3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2127" b="29054"/>
          <a:stretch/>
        </p:blipFill>
        <p:spPr bwMode="auto">
          <a:xfrm>
            <a:off x="6682198" y="2160282"/>
            <a:ext cx="1515520" cy="1649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https://downloader.disk.yandex.ru/preview/539cd3080ebe40fc44aac564c2df4ca9a05840bbe5d354a24e0839a2efc35632/64502aeb/6ezCEsMPcMQ3y-djeJNqgNssOlacDFqwE2eyCpKKmqiRu40m0Gb9BE9Sq2alcJTmG3uC3KKM5SMA7PIZcY4Zew%3D%3D?uid=0&amp;filename=%D0%9B%D0%B0%D0%BF%D0%BA%D0%B8%D0%BD%20%D0%9E%D0%BB%D0%B5%D0%B3%20%D0%9E%D0%BB%D0%B5%D0%B3%D0%BE%D0%B2%D0%B8%D1%87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490" b="32671"/>
          <a:stretch/>
        </p:blipFill>
        <p:spPr bwMode="auto">
          <a:xfrm>
            <a:off x="6672424" y="3668665"/>
            <a:ext cx="1658462" cy="162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802" b="27159"/>
          <a:stretch/>
        </p:blipFill>
        <p:spPr>
          <a:xfrm>
            <a:off x="3560631" y="2160282"/>
            <a:ext cx="1563657" cy="156017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8" b="27935"/>
          <a:stretch/>
        </p:blipFill>
        <p:spPr>
          <a:xfrm>
            <a:off x="3567844" y="3690951"/>
            <a:ext cx="1560471" cy="1636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9596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1988714" y="375892"/>
            <a:ext cx="1061491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24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ая олимпиада</a:t>
            </a:r>
          </a:p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24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функциональной грамотности </a:t>
            </a:r>
          </a:p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24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едагогов</a:t>
            </a:r>
            <a:endParaRPr lang="ru-RU" sz="24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33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Рисунок 33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grpSp>
        <p:nvGrpSpPr>
          <p:cNvPr id="10" name="Группа 9"/>
          <p:cNvGrpSpPr/>
          <p:nvPr/>
        </p:nvGrpSpPr>
        <p:grpSpPr>
          <a:xfrm>
            <a:off x="1784735" y="1810880"/>
            <a:ext cx="6453507" cy="4568834"/>
            <a:chOff x="1830002" y="1753476"/>
            <a:chExt cx="6453507" cy="4568834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2160359" y="5731393"/>
              <a:ext cx="6123150" cy="590917"/>
              <a:chOff x="3046485" y="5556972"/>
              <a:chExt cx="6123150" cy="590917"/>
            </a:xfrm>
          </p:grpSpPr>
          <p:sp>
            <p:nvSpPr>
              <p:cNvPr id="13" name="TextBox 12"/>
              <p:cNvSpPr txBox="1"/>
              <p:nvPr/>
            </p:nvSpPr>
            <p:spPr>
              <a:xfrm flipH="1">
                <a:off x="3394281" y="5891409"/>
                <a:ext cx="5427558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2000"/>
                  </a:lnSpc>
                </a:pPr>
                <a:r>
                  <a:rPr lang="ru-RU" sz="1600" spc="300" dirty="0">
                    <a:solidFill>
                      <a:schemeClr val="tx1">
                        <a:lumMod val="85000"/>
                        <a:lumOff val="15000"/>
                        <a:alpha val="6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муниципальных конкурсов</a:t>
                </a:r>
                <a:endParaRPr lang="en-US" sz="1600" spc="300" dirty="0">
                  <a:solidFill>
                    <a:schemeClr val="tx1">
                      <a:lumMod val="85000"/>
                      <a:lumOff val="15000"/>
                      <a:alpha val="6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3046485" y="5556972"/>
                <a:ext cx="6123150" cy="345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ts val="2000"/>
                  </a:lnSpc>
                </a:pPr>
                <a:r>
                  <a:rPr lang="ru-RU" sz="4000" dirty="0">
                    <a:solidFill>
                      <a:srgbClr val="089E6C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бедители и призёры</a:t>
                </a:r>
                <a:endParaRPr lang="en-US" sz="4000" kern="2000" dirty="0">
                  <a:solidFill>
                    <a:srgbClr val="089E6C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9" name="Rectangle 5"/>
            <p:cNvSpPr/>
            <p:nvPr/>
          </p:nvSpPr>
          <p:spPr>
            <a:xfrm>
              <a:off x="6281921" y="1767661"/>
              <a:ext cx="1327206" cy="1945895"/>
            </a:xfrm>
            <a:prstGeom prst="rect">
              <a:avLst/>
            </a:prstGeom>
            <a:solidFill>
              <a:srgbClr val="0789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Пономаренко Ольга Юрьевна</a:t>
              </a: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9"/>
            <p:cNvSpPr/>
            <p:nvPr/>
          </p:nvSpPr>
          <p:spPr>
            <a:xfrm>
              <a:off x="3427783" y="1753476"/>
              <a:ext cx="1553665" cy="1939713"/>
            </a:xfrm>
            <a:prstGeom prst="rect">
              <a:avLst/>
            </a:prstGeom>
            <a:solidFill>
              <a:srgbClr val="5D5B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Зюзина Татьяна Сергеевна</a:t>
              </a:r>
              <a:endParaRPr lang="ru-RU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6194069" y="1844183"/>
              <a:ext cx="205558" cy="205558"/>
            </a:xfrm>
            <a:prstGeom prst="ellipse">
              <a:avLst/>
            </a:prstGeom>
            <a:solidFill>
              <a:srgbClr val="0789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/>
            <p:cNvSpPr/>
            <p:nvPr/>
          </p:nvSpPr>
          <p:spPr>
            <a:xfrm>
              <a:off x="1830002" y="3791588"/>
              <a:ext cx="205558" cy="205558"/>
            </a:xfrm>
            <a:prstGeom prst="ellipse">
              <a:avLst/>
            </a:prstGeom>
            <a:pattFill prst="pct50">
              <a:fgClr>
                <a:schemeClr val="accent1">
                  <a:lumMod val="40000"/>
                  <a:lumOff val="60000"/>
                </a:schemeClr>
              </a:fgClr>
              <a:bgClr>
                <a:schemeClr val="accent1">
                  <a:lumMod val="60000"/>
                  <a:lumOff val="40000"/>
                </a:schemeClr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/>
            <p:cNvSpPr/>
            <p:nvPr/>
          </p:nvSpPr>
          <p:spPr>
            <a:xfrm>
              <a:off x="4833015" y="3791588"/>
              <a:ext cx="205558" cy="205558"/>
            </a:xfrm>
            <a:prstGeom prst="ellipse">
              <a:avLst/>
            </a:prstGeom>
            <a:solidFill>
              <a:srgbClr val="2E66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7"/>
            <p:cNvSpPr/>
            <p:nvPr/>
          </p:nvSpPr>
          <p:spPr>
            <a:xfrm>
              <a:off x="7953227" y="3791588"/>
              <a:ext cx="205558" cy="20555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0"/>
            <p:cNvSpPr/>
            <p:nvPr/>
          </p:nvSpPr>
          <p:spPr>
            <a:xfrm>
              <a:off x="1922037" y="3682323"/>
              <a:ext cx="1553665" cy="1691014"/>
            </a:xfrm>
            <a:prstGeom prst="rect">
              <a:avLst/>
            </a:prstGeom>
            <a:solidFill>
              <a:srgbClr val="92F9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lang="ru-RU" sz="1400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анарская</a:t>
              </a:r>
              <a:r>
                <a:rPr lang="ru-RU" sz="14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Елена Валентиновна</a:t>
              </a:r>
              <a:endPara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Rectangle 7"/>
            <p:cNvSpPr/>
            <p:nvPr/>
          </p:nvSpPr>
          <p:spPr>
            <a:xfrm>
              <a:off x="4934833" y="3681849"/>
              <a:ext cx="1553665" cy="1691014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Аверина Татьяна Ивановна</a:t>
              </a:r>
              <a:endParaRPr lang="ru-RU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5" name="Picture 2" descr="https://downloader.disk.yandex.ru/preview/4d0631275e66403dccbd85b88f683125e2bffd62d3f03f5c93493e3bd4df5592/64502aeb/ZPmVzE8bxl-1BoTn7OXBDZGE17eqk2KS2kIENttq5W6bVeXflKNAMaUdIauMv-lAgA7aNvXMxPnXBG89BFA-jw%3D%3D?uid=0&amp;filename=%D0%97%D1%8E%D0%B7%D0%B8%D0%BD%D0%B0%20%D0%A2%D0%B0%D1%82%D1%8C%D1%8F%D0%BD%D0%B0%20%D0%A1%D0%B5%D1%80%D0%B3%D0%B5%D0%B5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0867" y="1804698"/>
            <a:ext cx="1338496" cy="2009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 descr="https://downloader.disk.yandex.ru/preview/a5de4531d7478cf2c82284254d7b57ed6ede9f26c6212f508113eb1f52213b51/64502aeb/DQjfrIPmfT7XFXshAdCgkj4TmWKL0X9hJJl-0x9BGwmrTqQz3LrlNnac6XnilYSrcSIH6w-dQfjTvwmiVQjQ1w%3D%3D?uid=0&amp;filename=%D0%9F%D0%BE%D0%BD%D0%BE%D0%BC%D0%B0%D1%80%D0%B5%D0%BD%D0%BA%D0%BE%20%D0%9E%D0%BB%D1%8C%D0%B3%D0%B0%20%D0%AE%D1%80%D1%8C%D0%B5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2306" y="1818590"/>
            <a:ext cx="1319845" cy="1927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https://downloader.disk.yandex.ru/preview/14b9e7ca8800f8054c88c10f70aeb8f68dba061462505273f227596fcbef868b/64502aeb/An-fNnWyp6s9fGnb00KLfGgp54mC7olSD0Wfga00f0IqGPqpc6UBCviyhfMmNjuC8cfyFevMGXT0ePd36jzcww%3D%3D?uid=0&amp;filename=%D0%9A%D0%B0%D0%BD%D0%B0%D1%80%D1%81%D0%BA%D0%B0%D1%8F%20%D0%95%D0%BB%D0%B5%D0%BD%D0%B0%20%D0%92%D0%B0%D0%BB%D0%B5%D0%BD%D1%82%D0%B8%D0%BD%D0%BE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3" r="1584" b="23958"/>
          <a:stretch/>
        </p:blipFill>
        <p:spPr bwMode="auto">
          <a:xfrm>
            <a:off x="3378572" y="3728720"/>
            <a:ext cx="1540581" cy="1701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9"/>
          <a:srcRect l="12341" t="7292" r="19988" b="23958"/>
          <a:stretch/>
        </p:blipFill>
        <p:spPr>
          <a:xfrm>
            <a:off x="6378284" y="3728720"/>
            <a:ext cx="1185576" cy="1657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5634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1061491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лификация работников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F115730A-4403-B445-1324-0B76499F5BF2}"/>
              </a:ext>
            </a:extLst>
          </p:cNvPr>
          <p:cNvGrpSpPr/>
          <p:nvPr/>
        </p:nvGrpSpPr>
        <p:grpSpPr>
          <a:xfrm>
            <a:off x="2686071" y="2109458"/>
            <a:ext cx="4357368" cy="362279"/>
            <a:chOff x="2895367" y="2309292"/>
            <a:chExt cx="4357368" cy="362279"/>
          </a:xfrm>
        </p:grpSpPr>
        <p:grpSp>
          <p:nvGrpSpPr>
            <p:cNvPr id="36" name="Group 698">
              <a:extLst>
                <a:ext uri="{FF2B5EF4-FFF2-40B4-BE49-F238E27FC236}">
                  <a16:creationId xmlns:a16="http://schemas.microsoft.com/office/drawing/2014/main" id="{C5B9480C-30C4-4420-8B2B-E17BDED85183}"/>
                </a:ext>
              </a:extLst>
            </p:cNvPr>
            <p:cNvGrpSpPr/>
            <p:nvPr/>
          </p:nvGrpSpPr>
          <p:grpSpPr>
            <a:xfrm>
              <a:off x="2895367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37" name="Freeform 3394">
                <a:extLst>
                  <a:ext uri="{FF2B5EF4-FFF2-40B4-BE49-F238E27FC236}">
                    <a16:creationId xmlns:a16="http://schemas.microsoft.com/office/drawing/2014/main" id="{A45F6074-8A24-42BE-8ECE-79241A4FBB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395">
                <a:extLst>
                  <a:ext uri="{FF2B5EF4-FFF2-40B4-BE49-F238E27FC236}">
                    <a16:creationId xmlns:a16="http://schemas.microsoft.com/office/drawing/2014/main" id="{BB70DA5A-D3E5-4538-8782-B3BD132A0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9" name="Group 699">
              <a:extLst>
                <a:ext uri="{FF2B5EF4-FFF2-40B4-BE49-F238E27FC236}">
                  <a16:creationId xmlns:a16="http://schemas.microsoft.com/office/drawing/2014/main" id="{BFFF3141-9824-4F18-BD66-5F7D14EB464C}"/>
                </a:ext>
              </a:extLst>
            </p:cNvPr>
            <p:cNvGrpSpPr/>
            <p:nvPr/>
          </p:nvGrpSpPr>
          <p:grpSpPr>
            <a:xfrm>
              <a:off x="3216616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40" name="Freeform 3394">
                <a:extLst>
                  <a:ext uri="{FF2B5EF4-FFF2-40B4-BE49-F238E27FC236}">
                    <a16:creationId xmlns:a16="http://schemas.microsoft.com/office/drawing/2014/main" id="{BE663184-08C0-4F60-8450-BD02DA393C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395">
                <a:extLst>
                  <a:ext uri="{FF2B5EF4-FFF2-40B4-BE49-F238E27FC236}">
                    <a16:creationId xmlns:a16="http://schemas.microsoft.com/office/drawing/2014/main" id="{177AE08F-9880-4B6F-B99A-DD39B0B01D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2" name="Group 700">
              <a:extLst>
                <a:ext uri="{FF2B5EF4-FFF2-40B4-BE49-F238E27FC236}">
                  <a16:creationId xmlns:a16="http://schemas.microsoft.com/office/drawing/2014/main" id="{3331CBC6-E4A5-4388-AAC9-C68280B7A7C2}"/>
                </a:ext>
              </a:extLst>
            </p:cNvPr>
            <p:cNvGrpSpPr/>
            <p:nvPr/>
          </p:nvGrpSpPr>
          <p:grpSpPr>
            <a:xfrm>
              <a:off x="3537864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43" name="Freeform 3394">
                <a:extLst>
                  <a:ext uri="{FF2B5EF4-FFF2-40B4-BE49-F238E27FC236}">
                    <a16:creationId xmlns:a16="http://schemas.microsoft.com/office/drawing/2014/main" id="{0E7B6F76-B01E-41F5-B896-E70DC89CEA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395">
                <a:extLst>
                  <a:ext uri="{FF2B5EF4-FFF2-40B4-BE49-F238E27FC236}">
                    <a16:creationId xmlns:a16="http://schemas.microsoft.com/office/drawing/2014/main" id="{C458107C-6BA4-4B6B-88C6-2F020B803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6" name="Group 701">
              <a:extLst>
                <a:ext uri="{FF2B5EF4-FFF2-40B4-BE49-F238E27FC236}">
                  <a16:creationId xmlns:a16="http://schemas.microsoft.com/office/drawing/2014/main" id="{9284C094-9DF0-4EA3-ADA3-AEE7EF70CE86}"/>
                </a:ext>
              </a:extLst>
            </p:cNvPr>
            <p:cNvGrpSpPr/>
            <p:nvPr/>
          </p:nvGrpSpPr>
          <p:grpSpPr>
            <a:xfrm>
              <a:off x="3859113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47" name="Freeform 3394">
                <a:extLst>
                  <a:ext uri="{FF2B5EF4-FFF2-40B4-BE49-F238E27FC236}">
                    <a16:creationId xmlns:a16="http://schemas.microsoft.com/office/drawing/2014/main" id="{DBC29B69-38DB-4162-909D-72125CBBB7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395">
                <a:extLst>
                  <a:ext uri="{FF2B5EF4-FFF2-40B4-BE49-F238E27FC236}">
                    <a16:creationId xmlns:a16="http://schemas.microsoft.com/office/drawing/2014/main" id="{0B93E8DC-2CB2-425E-AA7D-B68D426F2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9" name="Group 702">
              <a:extLst>
                <a:ext uri="{FF2B5EF4-FFF2-40B4-BE49-F238E27FC236}">
                  <a16:creationId xmlns:a16="http://schemas.microsoft.com/office/drawing/2014/main" id="{78397921-893F-4FC6-AFB8-02A356D22408}"/>
                </a:ext>
              </a:extLst>
            </p:cNvPr>
            <p:cNvGrpSpPr/>
            <p:nvPr/>
          </p:nvGrpSpPr>
          <p:grpSpPr>
            <a:xfrm>
              <a:off x="4180361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50" name="Freeform 3394">
                <a:extLst>
                  <a:ext uri="{FF2B5EF4-FFF2-40B4-BE49-F238E27FC236}">
                    <a16:creationId xmlns:a16="http://schemas.microsoft.com/office/drawing/2014/main" id="{37D2AD5F-FE3A-4DCA-9515-7F30E07CC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395">
                <a:extLst>
                  <a:ext uri="{FF2B5EF4-FFF2-40B4-BE49-F238E27FC236}">
                    <a16:creationId xmlns:a16="http://schemas.microsoft.com/office/drawing/2014/main" id="{250C354D-9DA2-4C55-812C-AFC90762A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703">
              <a:extLst>
                <a:ext uri="{FF2B5EF4-FFF2-40B4-BE49-F238E27FC236}">
                  <a16:creationId xmlns:a16="http://schemas.microsoft.com/office/drawing/2014/main" id="{CB4F6DF6-B33A-47FB-9F0A-DB7C15840C09}"/>
                </a:ext>
              </a:extLst>
            </p:cNvPr>
            <p:cNvGrpSpPr/>
            <p:nvPr/>
          </p:nvGrpSpPr>
          <p:grpSpPr>
            <a:xfrm>
              <a:off x="4501609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53" name="Freeform 3394">
                <a:extLst>
                  <a:ext uri="{FF2B5EF4-FFF2-40B4-BE49-F238E27FC236}">
                    <a16:creationId xmlns:a16="http://schemas.microsoft.com/office/drawing/2014/main" id="{27B09262-0BC2-4C54-A137-AA754F3D6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3395">
                <a:extLst>
                  <a:ext uri="{FF2B5EF4-FFF2-40B4-BE49-F238E27FC236}">
                    <a16:creationId xmlns:a16="http://schemas.microsoft.com/office/drawing/2014/main" id="{71C2DED5-6EDD-4F96-8DDF-481609D85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6" name="Group 704">
              <a:extLst>
                <a:ext uri="{FF2B5EF4-FFF2-40B4-BE49-F238E27FC236}">
                  <a16:creationId xmlns:a16="http://schemas.microsoft.com/office/drawing/2014/main" id="{FAC1A0E7-5244-4511-A8E2-7FF3D61B4C1D}"/>
                </a:ext>
              </a:extLst>
            </p:cNvPr>
            <p:cNvGrpSpPr/>
            <p:nvPr/>
          </p:nvGrpSpPr>
          <p:grpSpPr>
            <a:xfrm>
              <a:off x="4822858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57" name="Freeform 3394">
                <a:extLst>
                  <a:ext uri="{FF2B5EF4-FFF2-40B4-BE49-F238E27FC236}">
                    <a16:creationId xmlns:a16="http://schemas.microsoft.com/office/drawing/2014/main" id="{29122558-9BD1-4C6C-9DFA-7F554FB15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3395">
                <a:extLst>
                  <a:ext uri="{FF2B5EF4-FFF2-40B4-BE49-F238E27FC236}">
                    <a16:creationId xmlns:a16="http://schemas.microsoft.com/office/drawing/2014/main" id="{23556E64-BA8E-4F1D-9EAD-FEA503538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9" name="Group 705">
              <a:extLst>
                <a:ext uri="{FF2B5EF4-FFF2-40B4-BE49-F238E27FC236}">
                  <a16:creationId xmlns:a16="http://schemas.microsoft.com/office/drawing/2014/main" id="{1343F8B5-5661-47A0-8FE0-C5B3473945D7}"/>
                </a:ext>
              </a:extLst>
            </p:cNvPr>
            <p:cNvGrpSpPr/>
            <p:nvPr/>
          </p:nvGrpSpPr>
          <p:grpSpPr>
            <a:xfrm>
              <a:off x="5144106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60" name="Freeform 3394">
                <a:extLst>
                  <a:ext uri="{FF2B5EF4-FFF2-40B4-BE49-F238E27FC236}">
                    <a16:creationId xmlns:a16="http://schemas.microsoft.com/office/drawing/2014/main" id="{E14678FF-3BC9-4444-956D-E8DDE1BA4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395">
                <a:extLst>
                  <a:ext uri="{FF2B5EF4-FFF2-40B4-BE49-F238E27FC236}">
                    <a16:creationId xmlns:a16="http://schemas.microsoft.com/office/drawing/2014/main" id="{8E5B0DFD-8562-414E-8150-C78CA9EB43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2" name="Group 706">
              <a:extLst>
                <a:ext uri="{FF2B5EF4-FFF2-40B4-BE49-F238E27FC236}">
                  <a16:creationId xmlns:a16="http://schemas.microsoft.com/office/drawing/2014/main" id="{FB130D88-86F1-408F-AE00-8EEC98E3634E}"/>
                </a:ext>
              </a:extLst>
            </p:cNvPr>
            <p:cNvGrpSpPr/>
            <p:nvPr/>
          </p:nvGrpSpPr>
          <p:grpSpPr>
            <a:xfrm>
              <a:off x="5465354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65" name="Freeform 3394">
                <a:extLst>
                  <a:ext uri="{FF2B5EF4-FFF2-40B4-BE49-F238E27FC236}">
                    <a16:creationId xmlns:a16="http://schemas.microsoft.com/office/drawing/2014/main" id="{528F8EFD-7112-4189-B355-B73D24D0A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395">
                <a:extLst>
                  <a:ext uri="{FF2B5EF4-FFF2-40B4-BE49-F238E27FC236}">
                    <a16:creationId xmlns:a16="http://schemas.microsoft.com/office/drawing/2014/main" id="{3B6FB0A8-4C41-49F0-ABCD-153275343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1" name="Group 707">
              <a:extLst>
                <a:ext uri="{FF2B5EF4-FFF2-40B4-BE49-F238E27FC236}">
                  <a16:creationId xmlns:a16="http://schemas.microsoft.com/office/drawing/2014/main" id="{90A6BCED-9BCE-4E55-84C9-67F10C544206}"/>
                </a:ext>
              </a:extLst>
            </p:cNvPr>
            <p:cNvGrpSpPr/>
            <p:nvPr/>
          </p:nvGrpSpPr>
          <p:grpSpPr>
            <a:xfrm>
              <a:off x="5786602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74" name="Freeform 3394">
                <a:extLst>
                  <a:ext uri="{FF2B5EF4-FFF2-40B4-BE49-F238E27FC236}">
                    <a16:creationId xmlns:a16="http://schemas.microsoft.com/office/drawing/2014/main" id="{94F2DA9D-7BC1-40BA-9739-9F7E75F2E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3395">
                <a:extLst>
                  <a:ext uri="{FF2B5EF4-FFF2-40B4-BE49-F238E27FC236}">
                    <a16:creationId xmlns:a16="http://schemas.microsoft.com/office/drawing/2014/main" id="{A8372D8F-BC44-4BD2-A300-75BECDABDC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0" name="Group 708">
              <a:extLst>
                <a:ext uri="{FF2B5EF4-FFF2-40B4-BE49-F238E27FC236}">
                  <a16:creationId xmlns:a16="http://schemas.microsoft.com/office/drawing/2014/main" id="{C78F0F39-12F1-4256-B776-C73407258F95}"/>
                </a:ext>
              </a:extLst>
            </p:cNvPr>
            <p:cNvGrpSpPr/>
            <p:nvPr/>
          </p:nvGrpSpPr>
          <p:grpSpPr>
            <a:xfrm>
              <a:off x="6107851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82" name="Freeform 3394">
                <a:extLst>
                  <a:ext uri="{FF2B5EF4-FFF2-40B4-BE49-F238E27FC236}">
                    <a16:creationId xmlns:a16="http://schemas.microsoft.com/office/drawing/2014/main" id="{CBB13C6B-F111-4EA3-8AD2-0B6CBAFE1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3395">
                <a:extLst>
                  <a:ext uri="{FF2B5EF4-FFF2-40B4-BE49-F238E27FC236}">
                    <a16:creationId xmlns:a16="http://schemas.microsoft.com/office/drawing/2014/main" id="{34A97262-9ED0-4D2F-B9CB-7458E78EA9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4" name="Group 709">
              <a:extLst>
                <a:ext uri="{FF2B5EF4-FFF2-40B4-BE49-F238E27FC236}">
                  <a16:creationId xmlns:a16="http://schemas.microsoft.com/office/drawing/2014/main" id="{936BE0DD-DB31-471F-B989-845152187F9C}"/>
                </a:ext>
              </a:extLst>
            </p:cNvPr>
            <p:cNvGrpSpPr/>
            <p:nvPr/>
          </p:nvGrpSpPr>
          <p:grpSpPr>
            <a:xfrm>
              <a:off x="6429099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85" name="Freeform 3394">
                <a:extLst>
                  <a:ext uri="{FF2B5EF4-FFF2-40B4-BE49-F238E27FC236}">
                    <a16:creationId xmlns:a16="http://schemas.microsoft.com/office/drawing/2014/main" id="{D3B31D3B-8948-4F61-93C9-9167E36CF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3395">
                <a:extLst>
                  <a:ext uri="{FF2B5EF4-FFF2-40B4-BE49-F238E27FC236}">
                    <a16:creationId xmlns:a16="http://schemas.microsoft.com/office/drawing/2014/main" id="{7922E130-EEEA-405D-9B4F-FB32B8E3A9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7" name="Group 710">
              <a:extLst>
                <a:ext uri="{FF2B5EF4-FFF2-40B4-BE49-F238E27FC236}">
                  <a16:creationId xmlns:a16="http://schemas.microsoft.com/office/drawing/2014/main" id="{E37E4425-01CF-40C3-BA01-DB40563EA912}"/>
                </a:ext>
              </a:extLst>
            </p:cNvPr>
            <p:cNvGrpSpPr/>
            <p:nvPr/>
          </p:nvGrpSpPr>
          <p:grpSpPr>
            <a:xfrm>
              <a:off x="6750347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88" name="Freeform 3394">
                <a:extLst>
                  <a:ext uri="{FF2B5EF4-FFF2-40B4-BE49-F238E27FC236}">
                    <a16:creationId xmlns:a16="http://schemas.microsoft.com/office/drawing/2014/main" id="{B265E37A-2D59-4B4A-81C2-CC6D2C9D6D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3395">
                <a:extLst>
                  <a:ext uri="{FF2B5EF4-FFF2-40B4-BE49-F238E27FC236}">
                    <a16:creationId xmlns:a16="http://schemas.microsoft.com/office/drawing/2014/main" id="{19D97FC6-0259-41F2-B188-737D2BBD22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0" name="Group 711">
              <a:extLst>
                <a:ext uri="{FF2B5EF4-FFF2-40B4-BE49-F238E27FC236}">
                  <a16:creationId xmlns:a16="http://schemas.microsoft.com/office/drawing/2014/main" id="{C39DA0AC-A1B0-49D5-B1EC-962D2E612D50}"/>
                </a:ext>
              </a:extLst>
            </p:cNvPr>
            <p:cNvGrpSpPr/>
            <p:nvPr/>
          </p:nvGrpSpPr>
          <p:grpSpPr>
            <a:xfrm>
              <a:off x="7071596" y="2309292"/>
              <a:ext cx="181139" cy="362279"/>
              <a:chOff x="7085013" y="5922963"/>
              <a:chExt cx="142875" cy="285750"/>
            </a:xfr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</p:grpSpPr>
          <p:sp>
            <p:nvSpPr>
              <p:cNvPr id="91" name="Freeform 3394">
                <a:extLst>
                  <a:ext uri="{FF2B5EF4-FFF2-40B4-BE49-F238E27FC236}">
                    <a16:creationId xmlns:a16="http://schemas.microsoft.com/office/drawing/2014/main" id="{1F9B61EE-3896-487F-AB4D-4547DC7ACD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3395">
                <a:extLst>
                  <a:ext uri="{FF2B5EF4-FFF2-40B4-BE49-F238E27FC236}">
                    <a16:creationId xmlns:a16="http://schemas.microsoft.com/office/drawing/2014/main" id="{3789B86F-B656-4651-94C4-02E5B8F7E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id="{56614D11-ACBD-D517-C4DE-B286D30A8F31}"/>
              </a:ext>
            </a:extLst>
          </p:cNvPr>
          <p:cNvGrpSpPr/>
          <p:nvPr/>
        </p:nvGrpSpPr>
        <p:grpSpPr>
          <a:xfrm>
            <a:off x="7474170" y="2109458"/>
            <a:ext cx="1466142" cy="362279"/>
            <a:chOff x="7714092" y="2309292"/>
            <a:chExt cx="1466142" cy="362279"/>
          </a:xfrm>
          <a:solidFill>
            <a:schemeClr val="bg1">
              <a:lumMod val="65000"/>
            </a:schemeClr>
          </a:solidFill>
        </p:grpSpPr>
        <p:grpSp>
          <p:nvGrpSpPr>
            <p:cNvPr id="96" name="Group 713">
              <a:extLst>
                <a:ext uri="{FF2B5EF4-FFF2-40B4-BE49-F238E27FC236}">
                  <a16:creationId xmlns:a16="http://schemas.microsoft.com/office/drawing/2014/main" id="{9CF58E30-AA46-4318-8E84-A3BBAACEED62}"/>
                </a:ext>
              </a:extLst>
            </p:cNvPr>
            <p:cNvGrpSpPr/>
            <p:nvPr/>
          </p:nvGrpSpPr>
          <p:grpSpPr>
            <a:xfrm>
              <a:off x="7714092" y="2309292"/>
              <a:ext cx="181139" cy="362279"/>
              <a:chOff x="7085013" y="5922963"/>
              <a:chExt cx="142875" cy="285750"/>
            </a:xfrm>
            <a:grpFill/>
          </p:grpSpPr>
          <p:sp>
            <p:nvSpPr>
              <p:cNvPr id="97" name="Freeform 3394">
                <a:extLst>
                  <a:ext uri="{FF2B5EF4-FFF2-40B4-BE49-F238E27FC236}">
                    <a16:creationId xmlns:a16="http://schemas.microsoft.com/office/drawing/2014/main" id="{62EC7986-7572-4225-9DFD-F432127658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3395">
                <a:extLst>
                  <a:ext uri="{FF2B5EF4-FFF2-40B4-BE49-F238E27FC236}">
                    <a16:creationId xmlns:a16="http://schemas.microsoft.com/office/drawing/2014/main" id="{FDDB6750-724E-4A96-BEBF-DF5BB4A3F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1" name="Group 714">
              <a:extLst>
                <a:ext uri="{FF2B5EF4-FFF2-40B4-BE49-F238E27FC236}">
                  <a16:creationId xmlns:a16="http://schemas.microsoft.com/office/drawing/2014/main" id="{C27AF2CC-110D-4093-A440-91A896401393}"/>
                </a:ext>
              </a:extLst>
            </p:cNvPr>
            <p:cNvGrpSpPr/>
            <p:nvPr/>
          </p:nvGrpSpPr>
          <p:grpSpPr>
            <a:xfrm>
              <a:off x="8035340" y="2309292"/>
              <a:ext cx="181139" cy="362279"/>
              <a:chOff x="7085013" y="5922963"/>
              <a:chExt cx="142875" cy="285750"/>
            </a:xfrm>
            <a:grpFill/>
          </p:grpSpPr>
          <p:sp>
            <p:nvSpPr>
              <p:cNvPr id="112" name="Freeform 3394">
                <a:extLst>
                  <a:ext uri="{FF2B5EF4-FFF2-40B4-BE49-F238E27FC236}">
                    <a16:creationId xmlns:a16="http://schemas.microsoft.com/office/drawing/2014/main" id="{F7022E20-CE8D-4263-BA93-0E66CFE94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395">
                <a:extLst>
                  <a:ext uri="{FF2B5EF4-FFF2-40B4-BE49-F238E27FC236}">
                    <a16:creationId xmlns:a16="http://schemas.microsoft.com/office/drawing/2014/main" id="{46159BFB-1595-40B6-A26A-E011BBF1F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4" name="Group 715">
              <a:extLst>
                <a:ext uri="{FF2B5EF4-FFF2-40B4-BE49-F238E27FC236}">
                  <a16:creationId xmlns:a16="http://schemas.microsoft.com/office/drawing/2014/main" id="{43470A0B-B428-450B-AD37-006649C8B2BD}"/>
                </a:ext>
              </a:extLst>
            </p:cNvPr>
            <p:cNvGrpSpPr/>
            <p:nvPr/>
          </p:nvGrpSpPr>
          <p:grpSpPr>
            <a:xfrm>
              <a:off x="8356589" y="2309292"/>
              <a:ext cx="181139" cy="362279"/>
              <a:chOff x="7085013" y="5922963"/>
              <a:chExt cx="142875" cy="285750"/>
            </a:xfrm>
            <a:grpFill/>
          </p:grpSpPr>
          <p:sp>
            <p:nvSpPr>
              <p:cNvPr id="115" name="Freeform 3394">
                <a:extLst>
                  <a:ext uri="{FF2B5EF4-FFF2-40B4-BE49-F238E27FC236}">
                    <a16:creationId xmlns:a16="http://schemas.microsoft.com/office/drawing/2014/main" id="{EFB94ACA-C7E3-47A6-B9E9-2D7816805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95">
                <a:extLst>
                  <a:ext uri="{FF2B5EF4-FFF2-40B4-BE49-F238E27FC236}">
                    <a16:creationId xmlns:a16="http://schemas.microsoft.com/office/drawing/2014/main" id="{1DBA789F-F4A9-49E6-AEA2-1BB7C86CA5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7" name="Group 716">
              <a:extLst>
                <a:ext uri="{FF2B5EF4-FFF2-40B4-BE49-F238E27FC236}">
                  <a16:creationId xmlns:a16="http://schemas.microsoft.com/office/drawing/2014/main" id="{A53CFD79-67E7-40C5-9594-99A94DA99C67}"/>
                </a:ext>
              </a:extLst>
            </p:cNvPr>
            <p:cNvGrpSpPr/>
            <p:nvPr/>
          </p:nvGrpSpPr>
          <p:grpSpPr>
            <a:xfrm>
              <a:off x="8677837" y="2309292"/>
              <a:ext cx="181139" cy="362279"/>
              <a:chOff x="7085013" y="5922963"/>
              <a:chExt cx="142875" cy="285750"/>
            </a:xfrm>
            <a:grpFill/>
          </p:grpSpPr>
          <p:sp>
            <p:nvSpPr>
              <p:cNvPr id="121" name="Freeform 3394">
                <a:extLst>
                  <a:ext uri="{FF2B5EF4-FFF2-40B4-BE49-F238E27FC236}">
                    <a16:creationId xmlns:a16="http://schemas.microsoft.com/office/drawing/2014/main" id="{D804CC8B-A8F6-4EDD-B4E9-49ABD1807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95">
                <a:extLst>
                  <a:ext uri="{FF2B5EF4-FFF2-40B4-BE49-F238E27FC236}">
                    <a16:creationId xmlns:a16="http://schemas.microsoft.com/office/drawing/2014/main" id="{6BED1569-AA31-44F5-8A4B-C24B3D9C67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 717">
              <a:extLst>
                <a:ext uri="{FF2B5EF4-FFF2-40B4-BE49-F238E27FC236}">
                  <a16:creationId xmlns:a16="http://schemas.microsoft.com/office/drawing/2014/main" id="{60D604EA-41ED-4807-A0A1-8FE5B075AA1C}"/>
                </a:ext>
              </a:extLst>
            </p:cNvPr>
            <p:cNvGrpSpPr/>
            <p:nvPr/>
          </p:nvGrpSpPr>
          <p:grpSpPr>
            <a:xfrm>
              <a:off x="8999095" y="2309292"/>
              <a:ext cx="181139" cy="362279"/>
              <a:chOff x="7085013" y="5922963"/>
              <a:chExt cx="142875" cy="285750"/>
            </a:xfrm>
            <a:grpFill/>
          </p:grpSpPr>
          <p:sp>
            <p:nvSpPr>
              <p:cNvPr id="124" name="Freeform 3394">
                <a:extLst>
                  <a:ext uri="{FF2B5EF4-FFF2-40B4-BE49-F238E27FC236}">
                    <a16:creationId xmlns:a16="http://schemas.microsoft.com/office/drawing/2014/main" id="{F4C63B33-3535-4F3C-8C26-4050E29936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5">
                <a:extLst>
                  <a:ext uri="{FF2B5EF4-FFF2-40B4-BE49-F238E27FC236}">
                    <a16:creationId xmlns:a16="http://schemas.microsoft.com/office/drawing/2014/main" id="{491F13D4-0683-4386-A203-DAEB7DE22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27024D22-115E-4D1B-AF95-00D97F206DA0}"/>
              </a:ext>
            </a:extLst>
          </p:cNvPr>
          <p:cNvSpPr txBox="1"/>
          <p:nvPr/>
        </p:nvSpPr>
        <p:spPr>
          <a:xfrm>
            <a:off x="2591114" y="1804698"/>
            <a:ext cx="64629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исло педагогических работников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267F7C5F-86AE-4AB3-9E0D-82263D68461F}"/>
              </a:ext>
            </a:extLst>
          </p:cNvPr>
          <p:cNvSpPr txBox="1"/>
          <p:nvPr/>
        </p:nvSpPr>
        <p:spPr>
          <a:xfrm>
            <a:off x="871338" y="2138992"/>
            <a:ext cx="1572354" cy="307777"/>
          </a:xfrm>
          <a:prstGeom prst="rect">
            <a:avLst/>
          </a:prstGeom>
          <a:pattFill prst="pct25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%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37838" y="1782880"/>
            <a:ext cx="157235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7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чел.</a:t>
            </a: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27024D22-115E-4D1B-AF95-00D97F206DA0}"/>
              </a:ext>
            </a:extLst>
          </p:cNvPr>
          <p:cNvSpPr txBox="1"/>
          <p:nvPr/>
        </p:nvSpPr>
        <p:spPr>
          <a:xfrm>
            <a:off x="2600163" y="3647688"/>
            <a:ext cx="64629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ысшая квалификационная категория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267F7C5F-86AE-4AB3-9E0D-82263D68461F}"/>
              </a:ext>
            </a:extLst>
          </p:cNvPr>
          <p:cNvSpPr txBox="1"/>
          <p:nvPr/>
        </p:nvSpPr>
        <p:spPr>
          <a:xfrm>
            <a:off x="856395" y="3960236"/>
            <a:ext cx="1572354" cy="307777"/>
          </a:xfrm>
          <a:prstGeom prst="rect">
            <a:avLst/>
          </a:prstGeom>
          <a:pattFill prst="pct25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1%</a:t>
            </a:r>
          </a:p>
        </p:txBody>
      </p:sp>
      <p:sp>
        <p:nvSpPr>
          <p:cNvPr id="319" name="Прямоугольник 318"/>
          <p:cNvSpPr/>
          <p:nvPr/>
        </p:nvSpPr>
        <p:spPr>
          <a:xfrm>
            <a:off x="835276" y="3628711"/>
            <a:ext cx="157235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4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чел.</a:t>
            </a:r>
          </a:p>
        </p:txBody>
      </p:sp>
      <p:grpSp>
        <p:nvGrpSpPr>
          <p:cNvPr id="194" name="Group 698">
            <a:extLst>
              <a:ext uri="{FF2B5EF4-FFF2-40B4-BE49-F238E27FC236}">
                <a16:creationId xmlns:a16="http://schemas.microsoft.com/office/drawing/2014/main" id="{C5B9480C-30C4-4420-8B2B-E17BDED85183}"/>
              </a:ext>
            </a:extLst>
          </p:cNvPr>
          <p:cNvGrpSpPr/>
          <p:nvPr/>
        </p:nvGrpSpPr>
        <p:grpSpPr>
          <a:xfrm>
            <a:off x="2687153" y="3048506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195" name="Freeform 3394">
              <a:extLst>
                <a:ext uri="{FF2B5EF4-FFF2-40B4-BE49-F238E27FC236}">
                  <a16:creationId xmlns:a16="http://schemas.microsoft.com/office/drawing/2014/main" id="{A45F6074-8A24-42BE-8ECE-79241A4FB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3395">
              <a:extLst>
                <a:ext uri="{FF2B5EF4-FFF2-40B4-BE49-F238E27FC236}">
                  <a16:creationId xmlns:a16="http://schemas.microsoft.com/office/drawing/2014/main" id="{BB70DA5A-D3E5-4538-8782-B3BD132A0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7" name="Group 699">
            <a:extLst>
              <a:ext uri="{FF2B5EF4-FFF2-40B4-BE49-F238E27FC236}">
                <a16:creationId xmlns:a16="http://schemas.microsoft.com/office/drawing/2014/main" id="{BFFF3141-9824-4F18-BD66-5F7D14EB464C}"/>
              </a:ext>
            </a:extLst>
          </p:cNvPr>
          <p:cNvGrpSpPr/>
          <p:nvPr/>
        </p:nvGrpSpPr>
        <p:grpSpPr>
          <a:xfrm>
            <a:off x="3008402" y="3048506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198" name="Freeform 3394">
              <a:extLst>
                <a:ext uri="{FF2B5EF4-FFF2-40B4-BE49-F238E27FC236}">
                  <a16:creationId xmlns:a16="http://schemas.microsoft.com/office/drawing/2014/main" id="{BE663184-08C0-4F60-8450-BD02DA393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3395">
              <a:extLst>
                <a:ext uri="{FF2B5EF4-FFF2-40B4-BE49-F238E27FC236}">
                  <a16:creationId xmlns:a16="http://schemas.microsoft.com/office/drawing/2014/main" id="{177AE08F-9880-4B6F-B99A-DD39B0B01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0" name="Group 700">
            <a:extLst>
              <a:ext uri="{FF2B5EF4-FFF2-40B4-BE49-F238E27FC236}">
                <a16:creationId xmlns:a16="http://schemas.microsoft.com/office/drawing/2014/main" id="{3331CBC6-E4A5-4388-AAC9-C68280B7A7C2}"/>
              </a:ext>
            </a:extLst>
          </p:cNvPr>
          <p:cNvGrpSpPr/>
          <p:nvPr/>
        </p:nvGrpSpPr>
        <p:grpSpPr>
          <a:xfrm>
            <a:off x="3329650" y="3048506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201" name="Freeform 3394">
              <a:extLst>
                <a:ext uri="{FF2B5EF4-FFF2-40B4-BE49-F238E27FC236}">
                  <a16:creationId xmlns:a16="http://schemas.microsoft.com/office/drawing/2014/main" id="{0E7B6F76-B01E-41F5-B896-E70DC89CE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3395">
              <a:extLst>
                <a:ext uri="{FF2B5EF4-FFF2-40B4-BE49-F238E27FC236}">
                  <a16:creationId xmlns:a16="http://schemas.microsoft.com/office/drawing/2014/main" id="{C458107C-6BA4-4B6B-88C6-2F020B803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3" name="Group 701">
            <a:extLst>
              <a:ext uri="{FF2B5EF4-FFF2-40B4-BE49-F238E27FC236}">
                <a16:creationId xmlns:a16="http://schemas.microsoft.com/office/drawing/2014/main" id="{9284C094-9DF0-4EA3-ADA3-AEE7EF70CE86}"/>
              </a:ext>
            </a:extLst>
          </p:cNvPr>
          <p:cNvGrpSpPr/>
          <p:nvPr/>
        </p:nvGrpSpPr>
        <p:grpSpPr>
          <a:xfrm>
            <a:off x="3650899" y="3048506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204" name="Freeform 3394">
              <a:extLst>
                <a:ext uri="{FF2B5EF4-FFF2-40B4-BE49-F238E27FC236}">
                  <a16:creationId xmlns:a16="http://schemas.microsoft.com/office/drawing/2014/main" id="{DBC29B69-38DB-4162-909D-72125CBBB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3395">
              <a:extLst>
                <a:ext uri="{FF2B5EF4-FFF2-40B4-BE49-F238E27FC236}">
                  <a16:creationId xmlns:a16="http://schemas.microsoft.com/office/drawing/2014/main" id="{0B93E8DC-2CB2-425E-AA7D-B68D426F2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6" name="Group 702">
            <a:extLst>
              <a:ext uri="{FF2B5EF4-FFF2-40B4-BE49-F238E27FC236}">
                <a16:creationId xmlns:a16="http://schemas.microsoft.com/office/drawing/2014/main" id="{78397921-893F-4FC6-AFB8-02A356D22408}"/>
              </a:ext>
            </a:extLst>
          </p:cNvPr>
          <p:cNvGrpSpPr/>
          <p:nvPr/>
        </p:nvGrpSpPr>
        <p:grpSpPr>
          <a:xfrm>
            <a:off x="3972147" y="3048506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207" name="Freeform 3394">
              <a:extLst>
                <a:ext uri="{FF2B5EF4-FFF2-40B4-BE49-F238E27FC236}">
                  <a16:creationId xmlns:a16="http://schemas.microsoft.com/office/drawing/2014/main" id="{37D2AD5F-FE3A-4DCA-9515-7F30E07CC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3395">
              <a:extLst>
                <a:ext uri="{FF2B5EF4-FFF2-40B4-BE49-F238E27FC236}">
                  <a16:creationId xmlns:a16="http://schemas.microsoft.com/office/drawing/2014/main" id="{250C354D-9DA2-4C55-812C-AFC90762A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9" name="Group 703">
            <a:extLst>
              <a:ext uri="{FF2B5EF4-FFF2-40B4-BE49-F238E27FC236}">
                <a16:creationId xmlns:a16="http://schemas.microsoft.com/office/drawing/2014/main" id="{CB4F6DF6-B33A-47FB-9F0A-DB7C15840C09}"/>
              </a:ext>
            </a:extLst>
          </p:cNvPr>
          <p:cNvGrpSpPr/>
          <p:nvPr/>
        </p:nvGrpSpPr>
        <p:grpSpPr>
          <a:xfrm>
            <a:off x="4293395" y="3048506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210" name="Freeform 3394">
              <a:extLst>
                <a:ext uri="{FF2B5EF4-FFF2-40B4-BE49-F238E27FC236}">
                  <a16:creationId xmlns:a16="http://schemas.microsoft.com/office/drawing/2014/main" id="{27B09262-0BC2-4C54-A137-AA754F3D6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3395">
              <a:extLst>
                <a:ext uri="{FF2B5EF4-FFF2-40B4-BE49-F238E27FC236}">
                  <a16:creationId xmlns:a16="http://schemas.microsoft.com/office/drawing/2014/main" id="{71C2DED5-6EDD-4F96-8DDF-481609D85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2" name="Group 704">
            <a:extLst>
              <a:ext uri="{FF2B5EF4-FFF2-40B4-BE49-F238E27FC236}">
                <a16:creationId xmlns:a16="http://schemas.microsoft.com/office/drawing/2014/main" id="{FAC1A0E7-5244-4511-A8E2-7FF3D61B4C1D}"/>
              </a:ext>
            </a:extLst>
          </p:cNvPr>
          <p:cNvGrpSpPr/>
          <p:nvPr/>
        </p:nvGrpSpPr>
        <p:grpSpPr>
          <a:xfrm>
            <a:off x="4614644" y="3048506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213" name="Freeform 3394">
              <a:extLst>
                <a:ext uri="{FF2B5EF4-FFF2-40B4-BE49-F238E27FC236}">
                  <a16:creationId xmlns:a16="http://schemas.microsoft.com/office/drawing/2014/main" id="{29122558-9BD1-4C6C-9DFA-7F554FB15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3395">
              <a:extLst>
                <a:ext uri="{FF2B5EF4-FFF2-40B4-BE49-F238E27FC236}">
                  <a16:creationId xmlns:a16="http://schemas.microsoft.com/office/drawing/2014/main" id="{23556E64-BA8E-4F1D-9EAD-FEA503538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5" name="Group 705">
            <a:extLst>
              <a:ext uri="{FF2B5EF4-FFF2-40B4-BE49-F238E27FC236}">
                <a16:creationId xmlns:a16="http://schemas.microsoft.com/office/drawing/2014/main" id="{1343F8B5-5661-47A0-8FE0-C5B3473945D7}"/>
              </a:ext>
            </a:extLst>
          </p:cNvPr>
          <p:cNvGrpSpPr/>
          <p:nvPr/>
        </p:nvGrpSpPr>
        <p:grpSpPr>
          <a:xfrm>
            <a:off x="4935892" y="3048506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216" name="Freeform 3394">
              <a:extLst>
                <a:ext uri="{FF2B5EF4-FFF2-40B4-BE49-F238E27FC236}">
                  <a16:creationId xmlns:a16="http://schemas.microsoft.com/office/drawing/2014/main" id="{E14678FF-3BC9-4444-956D-E8DDE1BA4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3395">
              <a:extLst>
                <a:ext uri="{FF2B5EF4-FFF2-40B4-BE49-F238E27FC236}">
                  <a16:creationId xmlns:a16="http://schemas.microsoft.com/office/drawing/2014/main" id="{8E5B0DFD-8562-414E-8150-C78CA9EB4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8" name="Group 706">
            <a:extLst>
              <a:ext uri="{FF2B5EF4-FFF2-40B4-BE49-F238E27FC236}">
                <a16:creationId xmlns:a16="http://schemas.microsoft.com/office/drawing/2014/main" id="{FB130D88-86F1-408F-AE00-8EEC98E3634E}"/>
              </a:ext>
            </a:extLst>
          </p:cNvPr>
          <p:cNvGrpSpPr/>
          <p:nvPr/>
        </p:nvGrpSpPr>
        <p:grpSpPr>
          <a:xfrm>
            <a:off x="5257140" y="3048506"/>
            <a:ext cx="181139" cy="362279"/>
            <a:chOff x="7085013" y="5922963"/>
            <a:chExt cx="142875" cy="285750"/>
          </a:xfrm>
          <a:solidFill>
            <a:schemeClr val="accent2"/>
          </a:solidFill>
        </p:grpSpPr>
        <p:sp>
          <p:nvSpPr>
            <p:cNvPr id="219" name="Freeform 3394">
              <a:extLst>
                <a:ext uri="{FF2B5EF4-FFF2-40B4-BE49-F238E27FC236}">
                  <a16:creationId xmlns:a16="http://schemas.microsoft.com/office/drawing/2014/main" id="{528F8EFD-7112-4189-B355-B73D24D0A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3395">
              <a:extLst>
                <a:ext uri="{FF2B5EF4-FFF2-40B4-BE49-F238E27FC236}">
                  <a16:creationId xmlns:a16="http://schemas.microsoft.com/office/drawing/2014/main" id="{3B6FB0A8-4C41-49F0-ABCD-153275343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1" name="Group 707">
            <a:extLst>
              <a:ext uri="{FF2B5EF4-FFF2-40B4-BE49-F238E27FC236}">
                <a16:creationId xmlns:a16="http://schemas.microsoft.com/office/drawing/2014/main" id="{90A6BCED-9BCE-4E55-84C9-67F10C544206}"/>
              </a:ext>
            </a:extLst>
          </p:cNvPr>
          <p:cNvGrpSpPr/>
          <p:nvPr/>
        </p:nvGrpSpPr>
        <p:grpSpPr>
          <a:xfrm>
            <a:off x="5539791" y="3046719"/>
            <a:ext cx="181139" cy="362279"/>
            <a:chOff x="7085013" y="5922963"/>
            <a:chExt cx="142875" cy="285750"/>
          </a:xfrm>
          <a:solidFill>
            <a:schemeClr val="accent2"/>
          </a:solidFill>
        </p:grpSpPr>
        <p:sp>
          <p:nvSpPr>
            <p:cNvPr id="222" name="Freeform 3394">
              <a:extLst>
                <a:ext uri="{FF2B5EF4-FFF2-40B4-BE49-F238E27FC236}">
                  <a16:creationId xmlns:a16="http://schemas.microsoft.com/office/drawing/2014/main" id="{94F2DA9D-7BC1-40BA-9739-9F7E75F2E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3395">
              <a:extLst>
                <a:ext uri="{FF2B5EF4-FFF2-40B4-BE49-F238E27FC236}">
                  <a16:creationId xmlns:a16="http://schemas.microsoft.com/office/drawing/2014/main" id="{A8372D8F-BC44-4BD2-A300-75BECDABD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4" name="Group 708">
            <a:extLst>
              <a:ext uri="{FF2B5EF4-FFF2-40B4-BE49-F238E27FC236}">
                <a16:creationId xmlns:a16="http://schemas.microsoft.com/office/drawing/2014/main" id="{C78F0F39-12F1-4256-B776-C73407258F95}"/>
              </a:ext>
            </a:extLst>
          </p:cNvPr>
          <p:cNvGrpSpPr/>
          <p:nvPr/>
        </p:nvGrpSpPr>
        <p:grpSpPr>
          <a:xfrm>
            <a:off x="5899637" y="3048506"/>
            <a:ext cx="181139" cy="362279"/>
            <a:chOff x="7085013" y="5922963"/>
            <a:chExt cx="142875" cy="285750"/>
          </a:xfrm>
          <a:solidFill>
            <a:schemeClr val="accent2"/>
          </a:solidFill>
        </p:grpSpPr>
        <p:sp>
          <p:nvSpPr>
            <p:cNvPr id="225" name="Freeform 3394">
              <a:extLst>
                <a:ext uri="{FF2B5EF4-FFF2-40B4-BE49-F238E27FC236}">
                  <a16:creationId xmlns:a16="http://schemas.microsoft.com/office/drawing/2014/main" id="{CBB13C6B-F111-4EA3-8AD2-0B6CBAFE1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3395">
              <a:extLst>
                <a:ext uri="{FF2B5EF4-FFF2-40B4-BE49-F238E27FC236}">
                  <a16:creationId xmlns:a16="http://schemas.microsoft.com/office/drawing/2014/main" id="{34A97262-9ED0-4D2F-B9CB-7458E78EA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0" name="Group 710">
            <a:extLst>
              <a:ext uri="{FF2B5EF4-FFF2-40B4-BE49-F238E27FC236}">
                <a16:creationId xmlns:a16="http://schemas.microsoft.com/office/drawing/2014/main" id="{E37E4425-01CF-40C3-BA01-DB40563EA912}"/>
              </a:ext>
            </a:extLst>
          </p:cNvPr>
          <p:cNvGrpSpPr/>
          <p:nvPr/>
        </p:nvGrpSpPr>
        <p:grpSpPr>
          <a:xfrm>
            <a:off x="6542133" y="3048506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231" name="Freeform 3394">
              <a:extLst>
                <a:ext uri="{FF2B5EF4-FFF2-40B4-BE49-F238E27FC236}">
                  <a16:creationId xmlns:a16="http://schemas.microsoft.com/office/drawing/2014/main" id="{B265E37A-2D59-4B4A-81C2-CC6D2C9D6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3395">
              <a:extLst>
                <a:ext uri="{FF2B5EF4-FFF2-40B4-BE49-F238E27FC236}">
                  <a16:creationId xmlns:a16="http://schemas.microsoft.com/office/drawing/2014/main" id="{19D97FC6-0259-41F2-B188-737D2BBD2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3" name="Group 711">
            <a:extLst>
              <a:ext uri="{FF2B5EF4-FFF2-40B4-BE49-F238E27FC236}">
                <a16:creationId xmlns:a16="http://schemas.microsoft.com/office/drawing/2014/main" id="{C39DA0AC-A1B0-49D5-B1EC-962D2E612D50}"/>
              </a:ext>
            </a:extLst>
          </p:cNvPr>
          <p:cNvGrpSpPr/>
          <p:nvPr/>
        </p:nvGrpSpPr>
        <p:grpSpPr>
          <a:xfrm>
            <a:off x="6863382" y="3048506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234" name="Freeform 3394">
              <a:extLst>
                <a:ext uri="{FF2B5EF4-FFF2-40B4-BE49-F238E27FC236}">
                  <a16:creationId xmlns:a16="http://schemas.microsoft.com/office/drawing/2014/main" id="{1F9B61EE-3896-487F-AB4D-4547DC7A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3395">
              <a:extLst>
                <a:ext uri="{FF2B5EF4-FFF2-40B4-BE49-F238E27FC236}">
                  <a16:creationId xmlns:a16="http://schemas.microsoft.com/office/drawing/2014/main" id="{3789B86F-B656-4651-94C4-02E5B8F7E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6" name="Group 712">
            <a:extLst>
              <a:ext uri="{FF2B5EF4-FFF2-40B4-BE49-F238E27FC236}">
                <a16:creationId xmlns:a16="http://schemas.microsoft.com/office/drawing/2014/main" id="{BCF015A1-0029-4D08-A365-1220811A6F7A}"/>
              </a:ext>
            </a:extLst>
          </p:cNvPr>
          <p:cNvGrpSpPr/>
          <p:nvPr/>
        </p:nvGrpSpPr>
        <p:grpSpPr>
          <a:xfrm>
            <a:off x="7184630" y="3048506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237" name="Freeform 3394">
              <a:extLst>
                <a:ext uri="{FF2B5EF4-FFF2-40B4-BE49-F238E27FC236}">
                  <a16:creationId xmlns:a16="http://schemas.microsoft.com/office/drawing/2014/main" id="{E34BB200-6DC8-4BB7-A90F-F7C5BBD71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3395">
              <a:extLst>
                <a:ext uri="{FF2B5EF4-FFF2-40B4-BE49-F238E27FC236}">
                  <a16:creationId xmlns:a16="http://schemas.microsoft.com/office/drawing/2014/main" id="{EAAE56E6-9B9A-4346-A60B-1EE4A7640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9" name="Group 713">
            <a:extLst>
              <a:ext uri="{FF2B5EF4-FFF2-40B4-BE49-F238E27FC236}">
                <a16:creationId xmlns:a16="http://schemas.microsoft.com/office/drawing/2014/main" id="{9CF58E30-AA46-4318-8E84-A3BBAACEED62}"/>
              </a:ext>
            </a:extLst>
          </p:cNvPr>
          <p:cNvGrpSpPr/>
          <p:nvPr/>
        </p:nvGrpSpPr>
        <p:grpSpPr>
          <a:xfrm>
            <a:off x="7505878" y="3048506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240" name="Freeform 3394">
              <a:extLst>
                <a:ext uri="{FF2B5EF4-FFF2-40B4-BE49-F238E27FC236}">
                  <a16:creationId xmlns:a16="http://schemas.microsoft.com/office/drawing/2014/main" id="{62EC7986-7572-4225-9DFD-F43212765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3395">
              <a:extLst>
                <a:ext uri="{FF2B5EF4-FFF2-40B4-BE49-F238E27FC236}">
                  <a16:creationId xmlns:a16="http://schemas.microsoft.com/office/drawing/2014/main" id="{FDDB6750-724E-4A96-BEBF-DF5BB4A3F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2" name="Group 714">
            <a:extLst>
              <a:ext uri="{FF2B5EF4-FFF2-40B4-BE49-F238E27FC236}">
                <a16:creationId xmlns:a16="http://schemas.microsoft.com/office/drawing/2014/main" id="{C27AF2CC-110D-4093-A440-91A896401393}"/>
              </a:ext>
            </a:extLst>
          </p:cNvPr>
          <p:cNvGrpSpPr/>
          <p:nvPr/>
        </p:nvGrpSpPr>
        <p:grpSpPr>
          <a:xfrm>
            <a:off x="7827126" y="3048506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243" name="Freeform 3394">
              <a:extLst>
                <a:ext uri="{FF2B5EF4-FFF2-40B4-BE49-F238E27FC236}">
                  <a16:creationId xmlns:a16="http://schemas.microsoft.com/office/drawing/2014/main" id="{F7022E20-CE8D-4263-BA93-0E66CFE94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3395">
              <a:extLst>
                <a:ext uri="{FF2B5EF4-FFF2-40B4-BE49-F238E27FC236}">
                  <a16:creationId xmlns:a16="http://schemas.microsoft.com/office/drawing/2014/main" id="{46159BFB-1595-40B6-A26A-E011BBF1F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5" name="Group 715">
            <a:extLst>
              <a:ext uri="{FF2B5EF4-FFF2-40B4-BE49-F238E27FC236}">
                <a16:creationId xmlns:a16="http://schemas.microsoft.com/office/drawing/2014/main" id="{43470A0B-B428-450B-AD37-006649C8B2BD}"/>
              </a:ext>
            </a:extLst>
          </p:cNvPr>
          <p:cNvGrpSpPr/>
          <p:nvPr/>
        </p:nvGrpSpPr>
        <p:grpSpPr>
          <a:xfrm>
            <a:off x="8148375" y="3048506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246" name="Freeform 3394">
              <a:extLst>
                <a:ext uri="{FF2B5EF4-FFF2-40B4-BE49-F238E27FC236}">
                  <a16:creationId xmlns:a16="http://schemas.microsoft.com/office/drawing/2014/main" id="{EFB94ACA-C7E3-47A6-B9E9-2D7816805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3395">
              <a:extLst>
                <a:ext uri="{FF2B5EF4-FFF2-40B4-BE49-F238E27FC236}">
                  <a16:creationId xmlns:a16="http://schemas.microsoft.com/office/drawing/2014/main" id="{1DBA789F-F4A9-49E6-AEA2-1BB7C86CA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8" name="Group 716">
            <a:extLst>
              <a:ext uri="{FF2B5EF4-FFF2-40B4-BE49-F238E27FC236}">
                <a16:creationId xmlns:a16="http://schemas.microsoft.com/office/drawing/2014/main" id="{A53CFD79-67E7-40C5-9594-99A94DA99C67}"/>
              </a:ext>
            </a:extLst>
          </p:cNvPr>
          <p:cNvGrpSpPr/>
          <p:nvPr/>
        </p:nvGrpSpPr>
        <p:grpSpPr>
          <a:xfrm>
            <a:off x="8469623" y="3048506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249" name="Freeform 3394">
              <a:extLst>
                <a:ext uri="{FF2B5EF4-FFF2-40B4-BE49-F238E27FC236}">
                  <a16:creationId xmlns:a16="http://schemas.microsoft.com/office/drawing/2014/main" id="{D804CC8B-A8F6-4EDD-B4E9-49ABD1807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3395">
              <a:extLst>
                <a:ext uri="{FF2B5EF4-FFF2-40B4-BE49-F238E27FC236}">
                  <a16:creationId xmlns:a16="http://schemas.microsoft.com/office/drawing/2014/main" id="{6BED1569-AA31-44F5-8A4B-C24B3D9C6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1" name="Group 717">
            <a:extLst>
              <a:ext uri="{FF2B5EF4-FFF2-40B4-BE49-F238E27FC236}">
                <a16:creationId xmlns:a16="http://schemas.microsoft.com/office/drawing/2014/main" id="{60D604EA-41ED-4807-A0A1-8FE5B075AA1C}"/>
              </a:ext>
            </a:extLst>
          </p:cNvPr>
          <p:cNvGrpSpPr/>
          <p:nvPr/>
        </p:nvGrpSpPr>
        <p:grpSpPr>
          <a:xfrm>
            <a:off x="8790881" y="3048506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252" name="Freeform 3394">
              <a:extLst>
                <a:ext uri="{FF2B5EF4-FFF2-40B4-BE49-F238E27FC236}">
                  <a16:creationId xmlns:a16="http://schemas.microsoft.com/office/drawing/2014/main" id="{F4C63B33-3535-4F3C-8C26-4050E2993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3395">
              <a:extLst>
                <a:ext uri="{FF2B5EF4-FFF2-40B4-BE49-F238E27FC236}">
                  <a16:creationId xmlns:a16="http://schemas.microsoft.com/office/drawing/2014/main" id="{491F13D4-0683-4386-A203-DAEB7DE22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4" name="TextBox 253">
            <a:extLst>
              <a:ext uri="{FF2B5EF4-FFF2-40B4-BE49-F238E27FC236}">
                <a16:creationId xmlns:a16="http://schemas.microsoft.com/office/drawing/2014/main" id="{27024D22-115E-4D1B-AF95-00D97F206DA0}"/>
              </a:ext>
            </a:extLst>
          </p:cNvPr>
          <p:cNvSpPr txBox="1"/>
          <p:nvPr/>
        </p:nvSpPr>
        <p:spPr>
          <a:xfrm>
            <a:off x="2595622" y="2708992"/>
            <a:ext cx="64629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пытные педагоги (стаж работы более 15 лет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267F7C5F-86AE-4AB3-9E0D-82263D68461F}"/>
              </a:ext>
            </a:extLst>
          </p:cNvPr>
          <p:cNvSpPr txBox="1"/>
          <p:nvPr/>
        </p:nvSpPr>
        <p:spPr>
          <a:xfrm>
            <a:off x="856395" y="3039897"/>
            <a:ext cx="1572354" cy="307777"/>
          </a:xfrm>
          <a:prstGeom prst="rect">
            <a:avLst/>
          </a:prstGeom>
          <a:pattFill prst="pct25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%</a:t>
            </a:r>
          </a:p>
        </p:txBody>
      </p:sp>
      <p:sp>
        <p:nvSpPr>
          <p:cNvPr id="256" name="Прямоугольник 255"/>
          <p:cNvSpPr/>
          <p:nvPr/>
        </p:nvSpPr>
        <p:spPr>
          <a:xfrm>
            <a:off x="874946" y="2694748"/>
            <a:ext cx="157235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чел.</a:t>
            </a:r>
          </a:p>
        </p:txBody>
      </p:sp>
      <p:grpSp>
        <p:nvGrpSpPr>
          <p:cNvPr id="320" name="Group 698">
            <a:extLst>
              <a:ext uri="{FF2B5EF4-FFF2-40B4-BE49-F238E27FC236}">
                <a16:creationId xmlns:a16="http://schemas.microsoft.com/office/drawing/2014/main" id="{C5B9480C-30C4-4420-8B2B-E17BDED85183}"/>
              </a:ext>
            </a:extLst>
          </p:cNvPr>
          <p:cNvGrpSpPr/>
          <p:nvPr/>
        </p:nvGrpSpPr>
        <p:grpSpPr>
          <a:xfrm>
            <a:off x="2680140" y="4939994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321" name="Freeform 3394">
              <a:extLst>
                <a:ext uri="{FF2B5EF4-FFF2-40B4-BE49-F238E27FC236}">
                  <a16:creationId xmlns:a16="http://schemas.microsoft.com/office/drawing/2014/main" id="{A45F6074-8A24-42BE-8ECE-79241A4FB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3395">
              <a:extLst>
                <a:ext uri="{FF2B5EF4-FFF2-40B4-BE49-F238E27FC236}">
                  <a16:creationId xmlns:a16="http://schemas.microsoft.com/office/drawing/2014/main" id="{BB70DA5A-D3E5-4538-8782-B3BD132A0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3" name="Group 699">
            <a:extLst>
              <a:ext uri="{FF2B5EF4-FFF2-40B4-BE49-F238E27FC236}">
                <a16:creationId xmlns:a16="http://schemas.microsoft.com/office/drawing/2014/main" id="{BFFF3141-9824-4F18-BD66-5F7D14EB464C}"/>
              </a:ext>
            </a:extLst>
          </p:cNvPr>
          <p:cNvGrpSpPr/>
          <p:nvPr/>
        </p:nvGrpSpPr>
        <p:grpSpPr>
          <a:xfrm>
            <a:off x="3001389" y="4939994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324" name="Freeform 3394">
              <a:extLst>
                <a:ext uri="{FF2B5EF4-FFF2-40B4-BE49-F238E27FC236}">
                  <a16:creationId xmlns:a16="http://schemas.microsoft.com/office/drawing/2014/main" id="{BE663184-08C0-4F60-8450-BD02DA393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3395">
              <a:extLst>
                <a:ext uri="{FF2B5EF4-FFF2-40B4-BE49-F238E27FC236}">
                  <a16:creationId xmlns:a16="http://schemas.microsoft.com/office/drawing/2014/main" id="{177AE08F-9880-4B6F-B99A-DD39B0B01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6" name="Group 700">
            <a:extLst>
              <a:ext uri="{FF2B5EF4-FFF2-40B4-BE49-F238E27FC236}">
                <a16:creationId xmlns:a16="http://schemas.microsoft.com/office/drawing/2014/main" id="{3331CBC6-E4A5-4388-AAC9-C68280B7A7C2}"/>
              </a:ext>
            </a:extLst>
          </p:cNvPr>
          <p:cNvGrpSpPr/>
          <p:nvPr/>
        </p:nvGrpSpPr>
        <p:grpSpPr>
          <a:xfrm>
            <a:off x="3322637" y="4939994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327" name="Freeform 3394">
              <a:extLst>
                <a:ext uri="{FF2B5EF4-FFF2-40B4-BE49-F238E27FC236}">
                  <a16:creationId xmlns:a16="http://schemas.microsoft.com/office/drawing/2014/main" id="{0E7B6F76-B01E-41F5-B896-E70DC89CE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3395">
              <a:extLst>
                <a:ext uri="{FF2B5EF4-FFF2-40B4-BE49-F238E27FC236}">
                  <a16:creationId xmlns:a16="http://schemas.microsoft.com/office/drawing/2014/main" id="{C458107C-6BA4-4B6B-88C6-2F020B803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9" name="Group 701">
            <a:extLst>
              <a:ext uri="{FF2B5EF4-FFF2-40B4-BE49-F238E27FC236}">
                <a16:creationId xmlns:a16="http://schemas.microsoft.com/office/drawing/2014/main" id="{9284C094-9DF0-4EA3-ADA3-AEE7EF70CE86}"/>
              </a:ext>
            </a:extLst>
          </p:cNvPr>
          <p:cNvGrpSpPr/>
          <p:nvPr/>
        </p:nvGrpSpPr>
        <p:grpSpPr>
          <a:xfrm>
            <a:off x="3643886" y="4939994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330" name="Freeform 3394">
              <a:extLst>
                <a:ext uri="{FF2B5EF4-FFF2-40B4-BE49-F238E27FC236}">
                  <a16:creationId xmlns:a16="http://schemas.microsoft.com/office/drawing/2014/main" id="{DBC29B69-38DB-4162-909D-72125CBBB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3395">
              <a:extLst>
                <a:ext uri="{FF2B5EF4-FFF2-40B4-BE49-F238E27FC236}">
                  <a16:creationId xmlns:a16="http://schemas.microsoft.com/office/drawing/2014/main" id="{0B93E8DC-2CB2-425E-AA7D-B68D426F2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2" name="Group 702">
            <a:extLst>
              <a:ext uri="{FF2B5EF4-FFF2-40B4-BE49-F238E27FC236}">
                <a16:creationId xmlns:a16="http://schemas.microsoft.com/office/drawing/2014/main" id="{78397921-893F-4FC6-AFB8-02A356D22408}"/>
              </a:ext>
            </a:extLst>
          </p:cNvPr>
          <p:cNvGrpSpPr/>
          <p:nvPr/>
        </p:nvGrpSpPr>
        <p:grpSpPr>
          <a:xfrm>
            <a:off x="3965134" y="4939994"/>
            <a:ext cx="181139" cy="362279"/>
            <a:chOff x="7085013" y="5922963"/>
            <a:chExt cx="142875" cy="285750"/>
          </a:xfrm>
          <a:solidFill>
            <a:srgbClr val="089E6C"/>
          </a:solidFill>
        </p:grpSpPr>
        <p:sp>
          <p:nvSpPr>
            <p:cNvPr id="333" name="Freeform 3394">
              <a:extLst>
                <a:ext uri="{FF2B5EF4-FFF2-40B4-BE49-F238E27FC236}">
                  <a16:creationId xmlns:a16="http://schemas.microsoft.com/office/drawing/2014/main" id="{37D2AD5F-FE3A-4DCA-9515-7F30E07CC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3395">
              <a:extLst>
                <a:ext uri="{FF2B5EF4-FFF2-40B4-BE49-F238E27FC236}">
                  <a16:creationId xmlns:a16="http://schemas.microsoft.com/office/drawing/2014/main" id="{250C354D-9DA2-4C55-812C-AFC90762A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5" name="Group 703">
            <a:extLst>
              <a:ext uri="{FF2B5EF4-FFF2-40B4-BE49-F238E27FC236}">
                <a16:creationId xmlns:a16="http://schemas.microsoft.com/office/drawing/2014/main" id="{CB4F6DF6-B33A-47FB-9F0A-DB7C15840C09}"/>
              </a:ext>
            </a:extLst>
          </p:cNvPr>
          <p:cNvGrpSpPr/>
          <p:nvPr/>
        </p:nvGrpSpPr>
        <p:grpSpPr>
          <a:xfrm>
            <a:off x="4286382" y="4939994"/>
            <a:ext cx="181139" cy="362279"/>
            <a:chOff x="7085013" y="5922963"/>
            <a:chExt cx="142875" cy="285750"/>
          </a:xfrm>
          <a:solidFill>
            <a:srgbClr val="089E6C"/>
          </a:solidFill>
        </p:grpSpPr>
        <p:sp>
          <p:nvSpPr>
            <p:cNvPr id="336" name="Freeform 3394">
              <a:extLst>
                <a:ext uri="{FF2B5EF4-FFF2-40B4-BE49-F238E27FC236}">
                  <a16:creationId xmlns:a16="http://schemas.microsoft.com/office/drawing/2014/main" id="{27B09262-0BC2-4C54-A137-AA754F3D6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3395">
              <a:extLst>
                <a:ext uri="{FF2B5EF4-FFF2-40B4-BE49-F238E27FC236}">
                  <a16:creationId xmlns:a16="http://schemas.microsoft.com/office/drawing/2014/main" id="{71C2DED5-6EDD-4F96-8DDF-481609D85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7" name="Group 707">
            <a:extLst>
              <a:ext uri="{FF2B5EF4-FFF2-40B4-BE49-F238E27FC236}">
                <a16:creationId xmlns:a16="http://schemas.microsoft.com/office/drawing/2014/main" id="{90A6BCED-9BCE-4E55-84C9-67F10C544206}"/>
              </a:ext>
            </a:extLst>
          </p:cNvPr>
          <p:cNvGrpSpPr/>
          <p:nvPr/>
        </p:nvGrpSpPr>
        <p:grpSpPr>
          <a:xfrm>
            <a:off x="5571375" y="4939994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348" name="Freeform 3394">
              <a:extLst>
                <a:ext uri="{FF2B5EF4-FFF2-40B4-BE49-F238E27FC236}">
                  <a16:creationId xmlns:a16="http://schemas.microsoft.com/office/drawing/2014/main" id="{94F2DA9D-7BC1-40BA-9739-9F7E75F2E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Freeform 3395">
              <a:extLst>
                <a:ext uri="{FF2B5EF4-FFF2-40B4-BE49-F238E27FC236}">
                  <a16:creationId xmlns:a16="http://schemas.microsoft.com/office/drawing/2014/main" id="{A8372D8F-BC44-4BD2-A300-75BECDABD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0" name="Group 708">
            <a:extLst>
              <a:ext uri="{FF2B5EF4-FFF2-40B4-BE49-F238E27FC236}">
                <a16:creationId xmlns:a16="http://schemas.microsoft.com/office/drawing/2014/main" id="{C78F0F39-12F1-4256-B776-C73407258F95}"/>
              </a:ext>
            </a:extLst>
          </p:cNvPr>
          <p:cNvGrpSpPr/>
          <p:nvPr/>
        </p:nvGrpSpPr>
        <p:grpSpPr>
          <a:xfrm>
            <a:off x="5892624" y="4939994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351" name="Freeform 3394">
              <a:extLst>
                <a:ext uri="{FF2B5EF4-FFF2-40B4-BE49-F238E27FC236}">
                  <a16:creationId xmlns:a16="http://schemas.microsoft.com/office/drawing/2014/main" id="{CBB13C6B-F111-4EA3-8AD2-0B6CBAFE1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Freeform 3395">
              <a:extLst>
                <a:ext uri="{FF2B5EF4-FFF2-40B4-BE49-F238E27FC236}">
                  <a16:creationId xmlns:a16="http://schemas.microsoft.com/office/drawing/2014/main" id="{34A97262-9ED0-4D2F-B9CB-7458E78EA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3" name="Group 709">
            <a:extLst>
              <a:ext uri="{FF2B5EF4-FFF2-40B4-BE49-F238E27FC236}">
                <a16:creationId xmlns:a16="http://schemas.microsoft.com/office/drawing/2014/main" id="{936BE0DD-DB31-471F-B989-845152187F9C}"/>
              </a:ext>
            </a:extLst>
          </p:cNvPr>
          <p:cNvGrpSpPr/>
          <p:nvPr/>
        </p:nvGrpSpPr>
        <p:grpSpPr>
          <a:xfrm>
            <a:off x="6213872" y="4939994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354" name="Freeform 3394">
              <a:extLst>
                <a:ext uri="{FF2B5EF4-FFF2-40B4-BE49-F238E27FC236}">
                  <a16:creationId xmlns:a16="http://schemas.microsoft.com/office/drawing/2014/main" id="{D3B31D3B-8948-4F61-93C9-9167E36CF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3395">
              <a:extLst>
                <a:ext uri="{FF2B5EF4-FFF2-40B4-BE49-F238E27FC236}">
                  <a16:creationId xmlns:a16="http://schemas.microsoft.com/office/drawing/2014/main" id="{7922E130-EEEA-405D-9B4F-FB32B8E3A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6" name="Group 710">
            <a:extLst>
              <a:ext uri="{FF2B5EF4-FFF2-40B4-BE49-F238E27FC236}">
                <a16:creationId xmlns:a16="http://schemas.microsoft.com/office/drawing/2014/main" id="{E37E4425-01CF-40C3-BA01-DB40563EA912}"/>
              </a:ext>
            </a:extLst>
          </p:cNvPr>
          <p:cNvGrpSpPr/>
          <p:nvPr/>
        </p:nvGrpSpPr>
        <p:grpSpPr>
          <a:xfrm>
            <a:off x="6535120" y="4939994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357" name="Freeform 3394">
              <a:extLst>
                <a:ext uri="{FF2B5EF4-FFF2-40B4-BE49-F238E27FC236}">
                  <a16:creationId xmlns:a16="http://schemas.microsoft.com/office/drawing/2014/main" id="{B265E37A-2D59-4B4A-81C2-CC6D2C9D6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Freeform 3395">
              <a:extLst>
                <a:ext uri="{FF2B5EF4-FFF2-40B4-BE49-F238E27FC236}">
                  <a16:creationId xmlns:a16="http://schemas.microsoft.com/office/drawing/2014/main" id="{19D97FC6-0259-41F2-B188-737D2BBD2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9" name="Group 711">
            <a:extLst>
              <a:ext uri="{FF2B5EF4-FFF2-40B4-BE49-F238E27FC236}">
                <a16:creationId xmlns:a16="http://schemas.microsoft.com/office/drawing/2014/main" id="{C39DA0AC-A1B0-49D5-B1EC-962D2E612D50}"/>
              </a:ext>
            </a:extLst>
          </p:cNvPr>
          <p:cNvGrpSpPr/>
          <p:nvPr/>
        </p:nvGrpSpPr>
        <p:grpSpPr>
          <a:xfrm>
            <a:off x="6856369" y="4939994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360" name="Freeform 3394">
              <a:extLst>
                <a:ext uri="{FF2B5EF4-FFF2-40B4-BE49-F238E27FC236}">
                  <a16:creationId xmlns:a16="http://schemas.microsoft.com/office/drawing/2014/main" id="{1F9B61EE-3896-487F-AB4D-4547DC7A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3395">
              <a:extLst>
                <a:ext uri="{FF2B5EF4-FFF2-40B4-BE49-F238E27FC236}">
                  <a16:creationId xmlns:a16="http://schemas.microsoft.com/office/drawing/2014/main" id="{3789B86F-B656-4651-94C4-02E5B8F7E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2" name="Group 712">
            <a:extLst>
              <a:ext uri="{FF2B5EF4-FFF2-40B4-BE49-F238E27FC236}">
                <a16:creationId xmlns:a16="http://schemas.microsoft.com/office/drawing/2014/main" id="{BCF015A1-0029-4D08-A365-1220811A6F7A}"/>
              </a:ext>
            </a:extLst>
          </p:cNvPr>
          <p:cNvGrpSpPr/>
          <p:nvPr/>
        </p:nvGrpSpPr>
        <p:grpSpPr>
          <a:xfrm>
            <a:off x="7177617" y="4939994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363" name="Freeform 3394">
              <a:extLst>
                <a:ext uri="{FF2B5EF4-FFF2-40B4-BE49-F238E27FC236}">
                  <a16:creationId xmlns:a16="http://schemas.microsoft.com/office/drawing/2014/main" id="{E34BB200-6DC8-4BB7-A90F-F7C5BBD71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3395">
              <a:extLst>
                <a:ext uri="{FF2B5EF4-FFF2-40B4-BE49-F238E27FC236}">
                  <a16:creationId xmlns:a16="http://schemas.microsoft.com/office/drawing/2014/main" id="{EAAE56E6-9B9A-4346-A60B-1EE4A7640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5" name="Group 713">
            <a:extLst>
              <a:ext uri="{FF2B5EF4-FFF2-40B4-BE49-F238E27FC236}">
                <a16:creationId xmlns:a16="http://schemas.microsoft.com/office/drawing/2014/main" id="{9CF58E30-AA46-4318-8E84-A3BBAACEED62}"/>
              </a:ext>
            </a:extLst>
          </p:cNvPr>
          <p:cNvGrpSpPr/>
          <p:nvPr/>
        </p:nvGrpSpPr>
        <p:grpSpPr>
          <a:xfrm>
            <a:off x="7498865" y="4939994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366" name="Freeform 3394">
              <a:extLst>
                <a:ext uri="{FF2B5EF4-FFF2-40B4-BE49-F238E27FC236}">
                  <a16:creationId xmlns:a16="http://schemas.microsoft.com/office/drawing/2014/main" id="{62EC7986-7572-4225-9DFD-F43212765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Freeform 3395">
              <a:extLst>
                <a:ext uri="{FF2B5EF4-FFF2-40B4-BE49-F238E27FC236}">
                  <a16:creationId xmlns:a16="http://schemas.microsoft.com/office/drawing/2014/main" id="{FDDB6750-724E-4A96-BEBF-DF5BB4A3F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8" name="Group 714">
            <a:extLst>
              <a:ext uri="{FF2B5EF4-FFF2-40B4-BE49-F238E27FC236}">
                <a16:creationId xmlns:a16="http://schemas.microsoft.com/office/drawing/2014/main" id="{C27AF2CC-110D-4093-A440-91A896401393}"/>
              </a:ext>
            </a:extLst>
          </p:cNvPr>
          <p:cNvGrpSpPr/>
          <p:nvPr/>
        </p:nvGrpSpPr>
        <p:grpSpPr>
          <a:xfrm>
            <a:off x="7820113" y="4939994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369" name="Freeform 3394">
              <a:extLst>
                <a:ext uri="{FF2B5EF4-FFF2-40B4-BE49-F238E27FC236}">
                  <a16:creationId xmlns:a16="http://schemas.microsoft.com/office/drawing/2014/main" id="{F7022E20-CE8D-4263-BA93-0E66CFE94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3395">
              <a:extLst>
                <a:ext uri="{FF2B5EF4-FFF2-40B4-BE49-F238E27FC236}">
                  <a16:creationId xmlns:a16="http://schemas.microsoft.com/office/drawing/2014/main" id="{46159BFB-1595-40B6-A26A-E011BBF1F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1" name="Group 715">
            <a:extLst>
              <a:ext uri="{FF2B5EF4-FFF2-40B4-BE49-F238E27FC236}">
                <a16:creationId xmlns:a16="http://schemas.microsoft.com/office/drawing/2014/main" id="{43470A0B-B428-450B-AD37-006649C8B2BD}"/>
              </a:ext>
            </a:extLst>
          </p:cNvPr>
          <p:cNvGrpSpPr/>
          <p:nvPr/>
        </p:nvGrpSpPr>
        <p:grpSpPr>
          <a:xfrm>
            <a:off x="8141362" y="4939994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372" name="Freeform 3394">
              <a:extLst>
                <a:ext uri="{FF2B5EF4-FFF2-40B4-BE49-F238E27FC236}">
                  <a16:creationId xmlns:a16="http://schemas.microsoft.com/office/drawing/2014/main" id="{EFB94ACA-C7E3-47A6-B9E9-2D7816805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Freeform 3395">
              <a:extLst>
                <a:ext uri="{FF2B5EF4-FFF2-40B4-BE49-F238E27FC236}">
                  <a16:creationId xmlns:a16="http://schemas.microsoft.com/office/drawing/2014/main" id="{1DBA789F-F4A9-49E6-AEA2-1BB7C86CA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4" name="Group 716">
            <a:extLst>
              <a:ext uri="{FF2B5EF4-FFF2-40B4-BE49-F238E27FC236}">
                <a16:creationId xmlns:a16="http://schemas.microsoft.com/office/drawing/2014/main" id="{A53CFD79-67E7-40C5-9594-99A94DA99C67}"/>
              </a:ext>
            </a:extLst>
          </p:cNvPr>
          <p:cNvGrpSpPr/>
          <p:nvPr/>
        </p:nvGrpSpPr>
        <p:grpSpPr>
          <a:xfrm>
            <a:off x="8462610" y="4939994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375" name="Freeform 3394">
              <a:extLst>
                <a:ext uri="{FF2B5EF4-FFF2-40B4-BE49-F238E27FC236}">
                  <a16:creationId xmlns:a16="http://schemas.microsoft.com/office/drawing/2014/main" id="{D804CC8B-A8F6-4EDD-B4E9-49ABD1807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3395">
              <a:extLst>
                <a:ext uri="{FF2B5EF4-FFF2-40B4-BE49-F238E27FC236}">
                  <a16:creationId xmlns:a16="http://schemas.microsoft.com/office/drawing/2014/main" id="{6BED1569-AA31-44F5-8A4B-C24B3D9C6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7" name="Group 717">
            <a:extLst>
              <a:ext uri="{FF2B5EF4-FFF2-40B4-BE49-F238E27FC236}">
                <a16:creationId xmlns:a16="http://schemas.microsoft.com/office/drawing/2014/main" id="{60D604EA-41ED-4807-A0A1-8FE5B075AA1C}"/>
              </a:ext>
            </a:extLst>
          </p:cNvPr>
          <p:cNvGrpSpPr/>
          <p:nvPr/>
        </p:nvGrpSpPr>
        <p:grpSpPr>
          <a:xfrm>
            <a:off x="8783868" y="4939994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378" name="Freeform 3394">
              <a:extLst>
                <a:ext uri="{FF2B5EF4-FFF2-40B4-BE49-F238E27FC236}">
                  <a16:creationId xmlns:a16="http://schemas.microsoft.com/office/drawing/2014/main" id="{F4C63B33-3535-4F3C-8C26-4050E2993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3395">
              <a:extLst>
                <a:ext uri="{FF2B5EF4-FFF2-40B4-BE49-F238E27FC236}">
                  <a16:creationId xmlns:a16="http://schemas.microsoft.com/office/drawing/2014/main" id="{491F13D4-0683-4386-A203-DAEB7DE22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0" name="TextBox 379">
            <a:extLst>
              <a:ext uri="{FF2B5EF4-FFF2-40B4-BE49-F238E27FC236}">
                <a16:creationId xmlns:a16="http://schemas.microsoft.com/office/drawing/2014/main" id="{27024D22-115E-4D1B-AF95-00D97F206DA0}"/>
              </a:ext>
            </a:extLst>
          </p:cNvPr>
          <p:cNvSpPr txBox="1"/>
          <p:nvPr/>
        </p:nvSpPr>
        <p:spPr>
          <a:xfrm>
            <a:off x="2591114" y="4643052"/>
            <a:ext cx="64629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ервая квалификационная категория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267F7C5F-86AE-4AB3-9E0D-82263D68461F}"/>
              </a:ext>
            </a:extLst>
          </p:cNvPr>
          <p:cNvSpPr txBox="1"/>
          <p:nvPr/>
        </p:nvSpPr>
        <p:spPr>
          <a:xfrm>
            <a:off x="837838" y="4849091"/>
            <a:ext cx="1572354" cy="307777"/>
          </a:xfrm>
          <a:prstGeom prst="rect">
            <a:avLst/>
          </a:prstGeom>
          <a:pattFill prst="pct25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,9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382" name="Прямоугольник 381"/>
          <p:cNvSpPr/>
          <p:nvPr/>
        </p:nvSpPr>
        <p:spPr>
          <a:xfrm>
            <a:off x="871994" y="4477712"/>
            <a:ext cx="157235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чел.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826509" y="2626735"/>
            <a:ext cx="8236575" cy="1871998"/>
            <a:chOff x="826509" y="2626735"/>
            <a:chExt cx="8346458" cy="1871998"/>
          </a:xfrm>
        </p:grpSpPr>
        <p:cxnSp>
          <p:nvCxnSpPr>
            <p:cNvPr id="3" name="Прямая соединительная линия 2"/>
            <p:cNvCxnSpPr/>
            <p:nvPr/>
          </p:nvCxnSpPr>
          <p:spPr>
            <a:xfrm>
              <a:off x="826509" y="2626735"/>
              <a:ext cx="8278094" cy="0"/>
            </a:xfrm>
            <a:prstGeom prst="line">
              <a:avLst/>
            </a:prstGeom>
            <a:ln>
              <a:solidFill>
                <a:srgbClr val="088A5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Прямая соединительная линия 262"/>
            <p:cNvCxnSpPr/>
            <p:nvPr/>
          </p:nvCxnSpPr>
          <p:spPr>
            <a:xfrm>
              <a:off x="856395" y="3552459"/>
              <a:ext cx="8278094" cy="0"/>
            </a:xfrm>
            <a:prstGeom prst="line">
              <a:avLst/>
            </a:prstGeom>
            <a:ln>
              <a:solidFill>
                <a:srgbClr val="088A5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Прямая соединительная линия 265"/>
            <p:cNvCxnSpPr/>
            <p:nvPr/>
          </p:nvCxnSpPr>
          <p:spPr>
            <a:xfrm>
              <a:off x="894873" y="4498733"/>
              <a:ext cx="8278094" cy="0"/>
            </a:xfrm>
            <a:prstGeom prst="line">
              <a:avLst/>
            </a:prstGeom>
            <a:ln>
              <a:solidFill>
                <a:srgbClr val="088A5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3" name="Group 698">
            <a:extLst>
              <a:ext uri="{FF2B5EF4-FFF2-40B4-BE49-F238E27FC236}">
                <a16:creationId xmlns:a16="http://schemas.microsoft.com/office/drawing/2014/main" id="{4551278A-C6F6-A24E-B1FE-7ED97E66E05E}"/>
              </a:ext>
            </a:extLst>
          </p:cNvPr>
          <p:cNvGrpSpPr/>
          <p:nvPr/>
        </p:nvGrpSpPr>
        <p:grpSpPr>
          <a:xfrm>
            <a:off x="2681489" y="4028821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441" name="Freeform 3394">
              <a:extLst>
                <a:ext uri="{FF2B5EF4-FFF2-40B4-BE49-F238E27FC236}">
                  <a16:creationId xmlns:a16="http://schemas.microsoft.com/office/drawing/2014/main" id="{C4330714-9448-8DCC-DAF7-EFDB4BC08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Freeform 3395">
              <a:extLst>
                <a:ext uri="{FF2B5EF4-FFF2-40B4-BE49-F238E27FC236}">
                  <a16:creationId xmlns:a16="http://schemas.microsoft.com/office/drawing/2014/main" id="{581A0306-950E-18F3-476B-792AFA541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4" name="Group 699">
            <a:extLst>
              <a:ext uri="{FF2B5EF4-FFF2-40B4-BE49-F238E27FC236}">
                <a16:creationId xmlns:a16="http://schemas.microsoft.com/office/drawing/2014/main" id="{1B8FB5AD-8067-07C1-92B7-637A59F645F5}"/>
              </a:ext>
            </a:extLst>
          </p:cNvPr>
          <p:cNvGrpSpPr/>
          <p:nvPr/>
        </p:nvGrpSpPr>
        <p:grpSpPr>
          <a:xfrm>
            <a:off x="3002738" y="4028821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439" name="Freeform 3394">
              <a:extLst>
                <a:ext uri="{FF2B5EF4-FFF2-40B4-BE49-F238E27FC236}">
                  <a16:creationId xmlns:a16="http://schemas.microsoft.com/office/drawing/2014/main" id="{3E4AED3B-41E1-8407-F779-9315C09B9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Freeform 3395">
              <a:extLst>
                <a:ext uri="{FF2B5EF4-FFF2-40B4-BE49-F238E27FC236}">
                  <a16:creationId xmlns:a16="http://schemas.microsoft.com/office/drawing/2014/main" id="{EF90ED9B-4130-27E8-EC9D-2868F9682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5" name="Group 700">
            <a:extLst>
              <a:ext uri="{FF2B5EF4-FFF2-40B4-BE49-F238E27FC236}">
                <a16:creationId xmlns:a16="http://schemas.microsoft.com/office/drawing/2014/main" id="{5938DFC7-80FC-743D-4B5E-F0F7F3548E28}"/>
              </a:ext>
            </a:extLst>
          </p:cNvPr>
          <p:cNvGrpSpPr/>
          <p:nvPr/>
        </p:nvGrpSpPr>
        <p:grpSpPr>
          <a:xfrm>
            <a:off x="3323986" y="4028821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437" name="Freeform 3394">
              <a:extLst>
                <a:ext uri="{FF2B5EF4-FFF2-40B4-BE49-F238E27FC236}">
                  <a16:creationId xmlns:a16="http://schemas.microsoft.com/office/drawing/2014/main" id="{9B4DEA7F-AD6C-FF6C-7C6A-20DC85E1A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Freeform 3395">
              <a:extLst>
                <a:ext uri="{FF2B5EF4-FFF2-40B4-BE49-F238E27FC236}">
                  <a16:creationId xmlns:a16="http://schemas.microsoft.com/office/drawing/2014/main" id="{A5DB4958-FA84-C660-03A6-B7513FF84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6" name="Group 701">
            <a:extLst>
              <a:ext uri="{FF2B5EF4-FFF2-40B4-BE49-F238E27FC236}">
                <a16:creationId xmlns:a16="http://schemas.microsoft.com/office/drawing/2014/main" id="{D754FC9C-E2C6-8DFA-677D-2A562E24E5B0}"/>
              </a:ext>
            </a:extLst>
          </p:cNvPr>
          <p:cNvGrpSpPr/>
          <p:nvPr/>
        </p:nvGrpSpPr>
        <p:grpSpPr>
          <a:xfrm>
            <a:off x="3645235" y="4028821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435" name="Freeform 3394">
              <a:extLst>
                <a:ext uri="{FF2B5EF4-FFF2-40B4-BE49-F238E27FC236}">
                  <a16:creationId xmlns:a16="http://schemas.microsoft.com/office/drawing/2014/main" id="{5C9717F4-8FFE-254B-5611-A897C3BA7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Freeform 3395">
              <a:extLst>
                <a:ext uri="{FF2B5EF4-FFF2-40B4-BE49-F238E27FC236}">
                  <a16:creationId xmlns:a16="http://schemas.microsoft.com/office/drawing/2014/main" id="{CBD0CAE0-2AC6-47E2-98E5-3E21490C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7" name="Group 702">
            <a:extLst>
              <a:ext uri="{FF2B5EF4-FFF2-40B4-BE49-F238E27FC236}">
                <a16:creationId xmlns:a16="http://schemas.microsoft.com/office/drawing/2014/main" id="{F1699DAE-1A95-6533-09A2-9319AB15C9B5}"/>
              </a:ext>
            </a:extLst>
          </p:cNvPr>
          <p:cNvGrpSpPr/>
          <p:nvPr/>
        </p:nvGrpSpPr>
        <p:grpSpPr>
          <a:xfrm>
            <a:off x="3966483" y="4028821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433" name="Freeform 3394">
              <a:extLst>
                <a:ext uri="{FF2B5EF4-FFF2-40B4-BE49-F238E27FC236}">
                  <a16:creationId xmlns:a16="http://schemas.microsoft.com/office/drawing/2014/main" id="{101D6095-9448-30E7-7F22-AD826F3C6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Freeform 3395">
              <a:extLst>
                <a:ext uri="{FF2B5EF4-FFF2-40B4-BE49-F238E27FC236}">
                  <a16:creationId xmlns:a16="http://schemas.microsoft.com/office/drawing/2014/main" id="{6A922107-3D79-9652-E63E-F11829F19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8" name="Group 703">
            <a:extLst>
              <a:ext uri="{FF2B5EF4-FFF2-40B4-BE49-F238E27FC236}">
                <a16:creationId xmlns:a16="http://schemas.microsoft.com/office/drawing/2014/main" id="{75E41027-50A6-E74B-0E03-4A5A57B3C014}"/>
              </a:ext>
            </a:extLst>
          </p:cNvPr>
          <p:cNvGrpSpPr/>
          <p:nvPr/>
        </p:nvGrpSpPr>
        <p:grpSpPr>
          <a:xfrm>
            <a:off x="4287731" y="4028821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431" name="Freeform 3394">
              <a:extLst>
                <a:ext uri="{FF2B5EF4-FFF2-40B4-BE49-F238E27FC236}">
                  <a16:creationId xmlns:a16="http://schemas.microsoft.com/office/drawing/2014/main" id="{AFE34E8B-C055-FA0A-6AE4-626B95464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Freeform 3395">
              <a:extLst>
                <a:ext uri="{FF2B5EF4-FFF2-40B4-BE49-F238E27FC236}">
                  <a16:creationId xmlns:a16="http://schemas.microsoft.com/office/drawing/2014/main" id="{3DF64D61-4FA4-DD61-D37A-1361A0334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9" name="Group 704">
            <a:extLst>
              <a:ext uri="{FF2B5EF4-FFF2-40B4-BE49-F238E27FC236}">
                <a16:creationId xmlns:a16="http://schemas.microsoft.com/office/drawing/2014/main" id="{113B5D2A-CE7D-83F2-13DE-F757A5056849}"/>
              </a:ext>
            </a:extLst>
          </p:cNvPr>
          <p:cNvGrpSpPr/>
          <p:nvPr/>
        </p:nvGrpSpPr>
        <p:grpSpPr>
          <a:xfrm>
            <a:off x="4608980" y="4028821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429" name="Freeform 3394">
              <a:extLst>
                <a:ext uri="{FF2B5EF4-FFF2-40B4-BE49-F238E27FC236}">
                  <a16:creationId xmlns:a16="http://schemas.microsoft.com/office/drawing/2014/main" id="{EBD03BDF-090C-FA56-67C1-FEFF91615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Freeform 3395">
              <a:extLst>
                <a:ext uri="{FF2B5EF4-FFF2-40B4-BE49-F238E27FC236}">
                  <a16:creationId xmlns:a16="http://schemas.microsoft.com/office/drawing/2014/main" id="{ECFFF578-17A0-6F06-DC9D-41209AE1E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0" name="Group 705">
            <a:extLst>
              <a:ext uri="{FF2B5EF4-FFF2-40B4-BE49-F238E27FC236}">
                <a16:creationId xmlns:a16="http://schemas.microsoft.com/office/drawing/2014/main" id="{6CF56BCA-23D0-6733-AC12-CA1DAADE3986}"/>
              </a:ext>
            </a:extLst>
          </p:cNvPr>
          <p:cNvGrpSpPr/>
          <p:nvPr/>
        </p:nvGrpSpPr>
        <p:grpSpPr>
          <a:xfrm>
            <a:off x="4930228" y="4028821"/>
            <a:ext cx="181139" cy="362279"/>
            <a:chOff x="7085013" y="5922963"/>
            <a:chExt cx="142875" cy="285750"/>
          </a:xfr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grpSpPr>
        <p:sp>
          <p:nvSpPr>
            <p:cNvPr id="427" name="Freeform 3394">
              <a:extLst>
                <a:ext uri="{FF2B5EF4-FFF2-40B4-BE49-F238E27FC236}">
                  <a16:creationId xmlns:a16="http://schemas.microsoft.com/office/drawing/2014/main" id="{07168778-8D02-A798-31AE-451D3868B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Freeform 3395">
              <a:extLst>
                <a:ext uri="{FF2B5EF4-FFF2-40B4-BE49-F238E27FC236}">
                  <a16:creationId xmlns:a16="http://schemas.microsoft.com/office/drawing/2014/main" id="{DE706B6C-3595-AC8C-34C7-62A5D447B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3" name="Group 708">
            <a:extLst>
              <a:ext uri="{FF2B5EF4-FFF2-40B4-BE49-F238E27FC236}">
                <a16:creationId xmlns:a16="http://schemas.microsoft.com/office/drawing/2014/main" id="{2893EC56-85B4-D7EF-5BFD-5E5CA03272AB}"/>
              </a:ext>
            </a:extLst>
          </p:cNvPr>
          <p:cNvGrpSpPr/>
          <p:nvPr/>
        </p:nvGrpSpPr>
        <p:grpSpPr>
          <a:xfrm>
            <a:off x="5893973" y="4028821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421" name="Freeform 3394">
              <a:extLst>
                <a:ext uri="{FF2B5EF4-FFF2-40B4-BE49-F238E27FC236}">
                  <a16:creationId xmlns:a16="http://schemas.microsoft.com/office/drawing/2014/main" id="{9B571A43-5697-A186-0935-BD225E264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Freeform 3395">
              <a:extLst>
                <a:ext uri="{FF2B5EF4-FFF2-40B4-BE49-F238E27FC236}">
                  <a16:creationId xmlns:a16="http://schemas.microsoft.com/office/drawing/2014/main" id="{983E6C6A-2194-3A3C-24E8-F73B88493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4" name="Group 709">
            <a:extLst>
              <a:ext uri="{FF2B5EF4-FFF2-40B4-BE49-F238E27FC236}">
                <a16:creationId xmlns:a16="http://schemas.microsoft.com/office/drawing/2014/main" id="{9E2A7C62-2F9A-DEF6-5614-CA5CBCFF7050}"/>
              </a:ext>
            </a:extLst>
          </p:cNvPr>
          <p:cNvGrpSpPr/>
          <p:nvPr/>
        </p:nvGrpSpPr>
        <p:grpSpPr>
          <a:xfrm>
            <a:off x="6215221" y="4028821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419" name="Freeform 3394">
              <a:extLst>
                <a:ext uri="{FF2B5EF4-FFF2-40B4-BE49-F238E27FC236}">
                  <a16:creationId xmlns:a16="http://schemas.microsoft.com/office/drawing/2014/main" id="{A9A15944-CAAE-293A-B2A5-02F27614C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Freeform 3395">
              <a:extLst>
                <a:ext uri="{FF2B5EF4-FFF2-40B4-BE49-F238E27FC236}">
                  <a16:creationId xmlns:a16="http://schemas.microsoft.com/office/drawing/2014/main" id="{32A7628A-7022-DB8F-D240-D216F9AF5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5" name="Group 710">
            <a:extLst>
              <a:ext uri="{FF2B5EF4-FFF2-40B4-BE49-F238E27FC236}">
                <a16:creationId xmlns:a16="http://schemas.microsoft.com/office/drawing/2014/main" id="{BE5D3A9E-4F85-1B59-3AB2-45BC0EB07F40}"/>
              </a:ext>
            </a:extLst>
          </p:cNvPr>
          <p:cNvGrpSpPr/>
          <p:nvPr/>
        </p:nvGrpSpPr>
        <p:grpSpPr>
          <a:xfrm>
            <a:off x="6536469" y="4028821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417" name="Freeform 3394">
              <a:extLst>
                <a:ext uri="{FF2B5EF4-FFF2-40B4-BE49-F238E27FC236}">
                  <a16:creationId xmlns:a16="http://schemas.microsoft.com/office/drawing/2014/main" id="{EF6A381A-B63E-1569-B730-E95931157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Freeform 3395">
              <a:extLst>
                <a:ext uri="{FF2B5EF4-FFF2-40B4-BE49-F238E27FC236}">
                  <a16:creationId xmlns:a16="http://schemas.microsoft.com/office/drawing/2014/main" id="{AFDE0288-B578-BC62-2B62-652D0B2DE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6" name="Group 711">
            <a:extLst>
              <a:ext uri="{FF2B5EF4-FFF2-40B4-BE49-F238E27FC236}">
                <a16:creationId xmlns:a16="http://schemas.microsoft.com/office/drawing/2014/main" id="{87A90C50-EC69-97BF-9FFE-708C998AD963}"/>
              </a:ext>
            </a:extLst>
          </p:cNvPr>
          <p:cNvGrpSpPr/>
          <p:nvPr/>
        </p:nvGrpSpPr>
        <p:grpSpPr>
          <a:xfrm>
            <a:off x="6857718" y="4028821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415" name="Freeform 3394">
              <a:extLst>
                <a:ext uri="{FF2B5EF4-FFF2-40B4-BE49-F238E27FC236}">
                  <a16:creationId xmlns:a16="http://schemas.microsoft.com/office/drawing/2014/main" id="{F35487FA-2B01-6C05-2B9A-1887DBC96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Freeform 3395">
              <a:extLst>
                <a:ext uri="{FF2B5EF4-FFF2-40B4-BE49-F238E27FC236}">
                  <a16:creationId xmlns:a16="http://schemas.microsoft.com/office/drawing/2014/main" id="{DA55C3B9-917A-792B-6171-FB67CA16C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7" name="Group 712">
            <a:extLst>
              <a:ext uri="{FF2B5EF4-FFF2-40B4-BE49-F238E27FC236}">
                <a16:creationId xmlns:a16="http://schemas.microsoft.com/office/drawing/2014/main" id="{4F23F696-8E91-30DB-4AE5-5940B32EFDBD}"/>
              </a:ext>
            </a:extLst>
          </p:cNvPr>
          <p:cNvGrpSpPr/>
          <p:nvPr/>
        </p:nvGrpSpPr>
        <p:grpSpPr>
          <a:xfrm>
            <a:off x="7178966" y="4028821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413" name="Freeform 3394">
              <a:extLst>
                <a:ext uri="{FF2B5EF4-FFF2-40B4-BE49-F238E27FC236}">
                  <a16:creationId xmlns:a16="http://schemas.microsoft.com/office/drawing/2014/main" id="{BF2209BB-207F-A4D2-44BC-64231AFC5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Freeform 3395">
              <a:extLst>
                <a:ext uri="{FF2B5EF4-FFF2-40B4-BE49-F238E27FC236}">
                  <a16:creationId xmlns:a16="http://schemas.microsoft.com/office/drawing/2014/main" id="{93F3575F-F538-073A-1D4C-0ED50296F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8" name="Group 713">
            <a:extLst>
              <a:ext uri="{FF2B5EF4-FFF2-40B4-BE49-F238E27FC236}">
                <a16:creationId xmlns:a16="http://schemas.microsoft.com/office/drawing/2014/main" id="{7899210B-91DF-DE90-4D1C-C2EF987C4C3C}"/>
              </a:ext>
            </a:extLst>
          </p:cNvPr>
          <p:cNvGrpSpPr/>
          <p:nvPr/>
        </p:nvGrpSpPr>
        <p:grpSpPr>
          <a:xfrm>
            <a:off x="7500214" y="4028821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411" name="Freeform 3394">
              <a:extLst>
                <a:ext uri="{FF2B5EF4-FFF2-40B4-BE49-F238E27FC236}">
                  <a16:creationId xmlns:a16="http://schemas.microsoft.com/office/drawing/2014/main" id="{779EAA76-1D9F-3A36-F2AE-416B150AC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Freeform 3395">
              <a:extLst>
                <a:ext uri="{FF2B5EF4-FFF2-40B4-BE49-F238E27FC236}">
                  <a16:creationId xmlns:a16="http://schemas.microsoft.com/office/drawing/2014/main" id="{3F262F38-3F4B-6793-C7CD-6F724EDC3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9" name="Group 714">
            <a:extLst>
              <a:ext uri="{FF2B5EF4-FFF2-40B4-BE49-F238E27FC236}">
                <a16:creationId xmlns:a16="http://schemas.microsoft.com/office/drawing/2014/main" id="{B6ACD217-E03C-2278-80DA-0445665E5D14}"/>
              </a:ext>
            </a:extLst>
          </p:cNvPr>
          <p:cNvGrpSpPr/>
          <p:nvPr/>
        </p:nvGrpSpPr>
        <p:grpSpPr>
          <a:xfrm>
            <a:off x="7821462" y="4028821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409" name="Freeform 3394">
              <a:extLst>
                <a:ext uri="{FF2B5EF4-FFF2-40B4-BE49-F238E27FC236}">
                  <a16:creationId xmlns:a16="http://schemas.microsoft.com/office/drawing/2014/main" id="{AF32DBB2-6EF5-9533-4E76-0E4AA11C8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Freeform 3395">
              <a:extLst>
                <a:ext uri="{FF2B5EF4-FFF2-40B4-BE49-F238E27FC236}">
                  <a16:creationId xmlns:a16="http://schemas.microsoft.com/office/drawing/2014/main" id="{069C156A-EEF6-56A2-3E43-44810276C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0" name="Group 715">
            <a:extLst>
              <a:ext uri="{FF2B5EF4-FFF2-40B4-BE49-F238E27FC236}">
                <a16:creationId xmlns:a16="http://schemas.microsoft.com/office/drawing/2014/main" id="{391112B0-8E03-D9BA-9677-5303B1241946}"/>
              </a:ext>
            </a:extLst>
          </p:cNvPr>
          <p:cNvGrpSpPr/>
          <p:nvPr/>
        </p:nvGrpSpPr>
        <p:grpSpPr>
          <a:xfrm>
            <a:off x="8142711" y="4028821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407" name="Freeform 3394">
              <a:extLst>
                <a:ext uri="{FF2B5EF4-FFF2-40B4-BE49-F238E27FC236}">
                  <a16:creationId xmlns:a16="http://schemas.microsoft.com/office/drawing/2014/main" id="{8C54D630-0611-C65B-1752-60AB5F7CD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Freeform 3395">
              <a:extLst>
                <a:ext uri="{FF2B5EF4-FFF2-40B4-BE49-F238E27FC236}">
                  <a16:creationId xmlns:a16="http://schemas.microsoft.com/office/drawing/2014/main" id="{C3348C09-78FA-77FD-E14D-428B4CD78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1" name="Group 716">
            <a:extLst>
              <a:ext uri="{FF2B5EF4-FFF2-40B4-BE49-F238E27FC236}">
                <a16:creationId xmlns:a16="http://schemas.microsoft.com/office/drawing/2014/main" id="{58455F2C-D116-714F-C428-3DC20200310C}"/>
              </a:ext>
            </a:extLst>
          </p:cNvPr>
          <p:cNvGrpSpPr/>
          <p:nvPr/>
        </p:nvGrpSpPr>
        <p:grpSpPr>
          <a:xfrm>
            <a:off x="8463959" y="4028821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405" name="Freeform 3394">
              <a:extLst>
                <a:ext uri="{FF2B5EF4-FFF2-40B4-BE49-F238E27FC236}">
                  <a16:creationId xmlns:a16="http://schemas.microsoft.com/office/drawing/2014/main" id="{1F650204-467F-94F6-E432-F501DA136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Freeform 3395">
              <a:extLst>
                <a:ext uri="{FF2B5EF4-FFF2-40B4-BE49-F238E27FC236}">
                  <a16:creationId xmlns:a16="http://schemas.microsoft.com/office/drawing/2014/main" id="{6A940485-BFDD-537C-F82A-90541FB56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2" name="Group 717">
            <a:extLst>
              <a:ext uri="{FF2B5EF4-FFF2-40B4-BE49-F238E27FC236}">
                <a16:creationId xmlns:a16="http://schemas.microsoft.com/office/drawing/2014/main" id="{99F4BF83-7B23-3CE5-15C0-872733860F52}"/>
              </a:ext>
            </a:extLst>
          </p:cNvPr>
          <p:cNvGrpSpPr/>
          <p:nvPr/>
        </p:nvGrpSpPr>
        <p:grpSpPr>
          <a:xfrm>
            <a:off x="8785217" y="4028821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403" name="Freeform 3394">
              <a:extLst>
                <a:ext uri="{FF2B5EF4-FFF2-40B4-BE49-F238E27FC236}">
                  <a16:creationId xmlns:a16="http://schemas.microsoft.com/office/drawing/2014/main" id="{148638C7-9AAF-02C7-2B6E-2C4EE7738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Freeform 3395">
              <a:extLst>
                <a:ext uri="{FF2B5EF4-FFF2-40B4-BE49-F238E27FC236}">
                  <a16:creationId xmlns:a16="http://schemas.microsoft.com/office/drawing/2014/main" id="{78670535-5A1B-1F4A-5B60-E309C1CC0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5" name="TextBox 504">
            <a:extLst>
              <a:ext uri="{FF2B5EF4-FFF2-40B4-BE49-F238E27FC236}">
                <a16:creationId xmlns:a16="http://schemas.microsoft.com/office/drawing/2014/main" id="{CA0940A6-0F55-8071-F0D6-0764FE00E3AB}"/>
              </a:ext>
            </a:extLst>
          </p:cNvPr>
          <p:cNvSpPr txBox="1"/>
          <p:nvPr/>
        </p:nvSpPr>
        <p:spPr>
          <a:xfrm>
            <a:off x="835276" y="4846485"/>
            <a:ext cx="1572354" cy="307777"/>
          </a:xfrm>
          <a:prstGeom prst="rect">
            <a:avLst/>
          </a:prstGeom>
          <a:pattFill prst="pct25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%</a:t>
            </a:r>
          </a:p>
        </p:txBody>
      </p:sp>
      <p:sp>
        <p:nvSpPr>
          <p:cNvPr id="507" name="TextBox 506">
            <a:extLst>
              <a:ext uri="{FF2B5EF4-FFF2-40B4-BE49-F238E27FC236}">
                <a16:creationId xmlns:a16="http://schemas.microsoft.com/office/drawing/2014/main" id="{928BF0C4-8557-DA5A-5458-6F7956E6797E}"/>
              </a:ext>
            </a:extLst>
          </p:cNvPr>
          <p:cNvSpPr txBox="1"/>
          <p:nvPr/>
        </p:nvSpPr>
        <p:spPr>
          <a:xfrm>
            <a:off x="849549" y="5570079"/>
            <a:ext cx="8332185" cy="1046440"/>
          </a:xfrm>
          <a:prstGeom prst="rect">
            <a:avLst/>
          </a:prstGeom>
          <a:pattFill prst="pct25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</p:spPr>
        <p:txBody>
          <a:bodyPr wrap="square" lIns="0" tIns="0" rIns="0" bIns="0" rtlCol="0">
            <a:spAutoFit/>
          </a:bodyPr>
          <a:lstStyle/>
          <a:p>
            <a:pPr algn="ctr"/>
            <a:endParaRPr lang="ru-R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эксперта по проверке ЕГЭ и ОГЭ</a:t>
            </a:r>
          </a:p>
          <a:p>
            <a:pPr algn="ctr"/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9" name="TextBox 508">
            <a:extLst>
              <a:ext uri="{FF2B5EF4-FFF2-40B4-BE49-F238E27FC236}">
                <a16:creationId xmlns:a16="http://schemas.microsoft.com/office/drawing/2014/main" id="{9B210E79-0DCE-7468-1187-D8604BDD7AD7}"/>
              </a:ext>
            </a:extLst>
          </p:cNvPr>
          <p:cNvSpPr txBox="1"/>
          <p:nvPr/>
        </p:nvSpPr>
        <p:spPr>
          <a:xfrm>
            <a:off x="2591114" y="4642991"/>
            <a:ext cx="64629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ервая квалификационная категория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1" name="TextBox 510">
            <a:extLst>
              <a:ext uri="{FF2B5EF4-FFF2-40B4-BE49-F238E27FC236}">
                <a16:creationId xmlns:a16="http://schemas.microsoft.com/office/drawing/2014/main" id="{C6E880F6-78E6-297B-EA05-3D48456A85C4}"/>
              </a:ext>
            </a:extLst>
          </p:cNvPr>
          <p:cNvSpPr txBox="1"/>
          <p:nvPr/>
        </p:nvSpPr>
        <p:spPr>
          <a:xfrm>
            <a:off x="2591114" y="4643051"/>
            <a:ext cx="64629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ервая квалификационная категория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1" name="Группа 280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82" name="Прямоугольник 281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3" name="TextBox 282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84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5" name="Рисунок 284"/>
            <p:cNvPicPr>
              <a:picLocks noChangeAspect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286" name="Рисунок 285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sp>
        <p:nvSpPr>
          <p:cNvPr id="272" name="Freeform 3395">
            <a:extLst>
              <a:ext uri="{FF2B5EF4-FFF2-40B4-BE49-F238E27FC236}">
                <a16:creationId xmlns:a16="http://schemas.microsoft.com/office/drawing/2014/main" id="{FDDB6750-724E-4A96-BEBF-DF5BB4A3FBD0}"/>
              </a:ext>
            </a:extLst>
          </p:cNvPr>
          <p:cNvSpPr>
            <a:spLocks/>
          </p:cNvSpPr>
          <p:nvPr/>
        </p:nvSpPr>
        <p:spPr bwMode="auto">
          <a:xfrm>
            <a:off x="7189051" y="2234040"/>
            <a:ext cx="181139" cy="229443"/>
          </a:xfrm>
          <a:custGeom>
            <a:avLst/>
            <a:gdLst>
              <a:gd name="T0" fmla="*/ 0 w 359"/>
              <a:gd name="T1" fmla="*/ 0 h 456"/>
              <a:gd name="T2" fmla="*/ 0 w 359"/>
              <a:gd name="T3" fmla="*/ 12 h 456"/>
              <a:gd name="T4" fmla="*/ 0 w 359"/>
              <a:gd name="T5" fmla="*/ 39 h 456"/>
              <a:gd name="T6" fmla="*/ 2 w 359"/>
              <a:gd name="T7" fmla="*/ 64 h 456"/>
              <a:gd name="T8" fmla="*/ 5 w 359"/>
              <a:gd name="T9" fmla="*/ 88 h 456"/>
              <a:gd name="T10" fmla="*/ 10 w 359"/>
              <a:gd name="T11" fmla="*/ 109 h 456"/>
              <a:gd name="T12" fmla="*/ 15 w 359"/>
              <a:gd name="T13" fmla="*/ 130 h 456"/>
              <a:gd name="T14" fmla="*/ 21 w 359"/>
              <a:gd name="T15" fmla="*/ 148 h 456"/>
              <a:gd name="T16" fmla="*/ 29 w 359"/>
              <a:gd name="T17" fmla="*/ 165 h 456"/>
              <a:gd name="T18" fmla="*/ 37 w 359"/>
              <a:gd name="T19" fmla="*/ 180 h 456"/>
              <a:gd name="T20" fmla="*/ 46 w 359"/>
              <a:gd name="T21" fmla="*/ 194 h 456"/>
              <a:gd name="T22" fmla="*/ 54 w 359"/>
              <a:gd name="T23" fmla="*/ 206 h 456"/>
              <a:gd name="T24" fmla="*/ 63 w 359"/>
              <a:gd name="T25" fmla="*/ 217 h 456"/>
              <a:gd name="T26" fmla="*/ 72 w 359"/>
              <a:gd name="T27" fmla="*/ 226 h 456"/>
              <a:gd name="T28" fmla="*/ 82 w 359"/>
              <a:gd name="T29" fmla="*/ 235 h 456"/>
              <a:gd name="T30" fmla="*/ 91 w 359"/>
              <a:gd name="T31" fmla="*/ 243 h 456"/>
              <a:gd name="T32" fmla="*/ 98 w 359"/>
              <a:gd name="T33" fmla="*/ 249 h 456"/>
              <a:gd name="T34" fmla="*/ 107 w 359"/>
              <a:gd name="T35" fmla="*/ 255 h 456"/>
              <a:gd name="T36" fmla="*/ 107 w 359"/>
              <a:gd name="T37" fmla="*/ 456 h 456"/>
              <a:gd name="T38" fmla="*/ 251 w 359"/>
              <a:gd name="T39" fmla="*/ 456 h 456"/>
              <a:gd name="T40" fmla="*/ 251 w 359"/>
              <a:gd name="T41" fmla="*/ 255 h 456"/>
              <a:gd name="T42" fmla="*/ 262 w 359"/>
              <a:gd name="T43" fmla="*/ 248 h 456"/>
              <a:gd name="T44" fmla="*/ 271 w 359"/>
              <a:gd name="T45" fmla="*/ 242 h 456"/>
              <a:gd name="T46" fmla="*/ 281 w 359"/>
              <a:gd name="T47" fmla="*/ 234 h 456"/>
              <a:gd name="T48" fmla="*/ 290 w 359"/>
              <a:gd name="T49" fmla="*/ 225 h 456"/>
              <a:gd name="T50" fmla="*/ 299 w 359"/>
              <a:gd name="T51" fmla="*/ 215 h 456"/>
              <a:gd name="T52" fmla="*/ 308 w 359"/>
              <a:gd name="T53" fmla="*/ 203 h 456"/>
              <a:gd name="T54" fmla="*/ 317 w 359"/>
              <a:gd name="T55" fmla="*/ 192 h 456"/>
              <a:gd name="T56" fmla="*/ 325 w 359"/>
              <a:gd name="T57" fmla="*/ 177 h 456"/>
              <a:gd name="T58" fmla="*/ 332 w 359"/>
              <a:gd name="T59" fmla="*/ 162 h 456"/>
              <a:gd name="T60" fmla="*/ 339 w 359"/>
              <a:gd name="T61" fmla="*/ 145 h 456"/>
              <a:gd name="T62" fmla="*/ 345 w 359"/>
              <a:gd name="T63" fmla="*/ 127 h 456"/>
              <a:gd name="T64" fmla="*/ 350 w 359"/>
              <a:gd name="T65" fmla="*/ 108 h 456"/>
              <a:gd name="T66" fmla="*/ 354 w 359"/>
              <a:gd name="T67" fmla="*/ 86 h 456"/>
              <a:gd name="T68" fmla="*/ 357 w 359"/>
              <a:gd name="T69" fmla="*/ 63 h 456"/>
              <a:gd name="T70" fmla="*/ 359 w 359"/>
              <a:gd name="T71" fmla="*/ 39 h 456"/>
              <a:gd name="T72" fmla="*/ 359 w 359"/>
              <a:gd name="T73" fmla="*/ 12 h 456"/>
              <a:gd name="T74" fmla="*/ 359 w 359"/>
              <a:gd name="T75" fmla="*/ 0 h 456"/>
              <a:gd name="T76" fmla="*/ 0 w 359"/>
              <a:gd name="T77" fmla="*/ 0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59" h="456">
                <a:moveTo>
                  <a:pt x="0" y="0"/>
                </a:moveTo>
                <a:lnTo>
                  <a:pt x="0" y="12"/>
                </a:lnTo>
                <a:lnTo>
                  <a:pt x="0" y="39"/>
                </a:lnTo>
                <a:lnTo>
                  <a:pt x="2" y="64"/>
                </a:lnTo>
                <a:lnTo>
                  <a:pt x="5" y="88"/>
                </a:lnTo>
                <a:lnTo>
                  <a:pt x="10" y="109"/>
                </a:lnTo>
                <a:lnTo>
                  <a:pt x="15" y="130"/>
                </a:lnTo>
                <a:lnTo>
                  <a:pt x="21" y="148"/>
                </a:lnTo>
                <a:lnTo>
                  <a:pt x="29" y="165"/>
                </a:lnTo>
                <a:lnTo>
                  <a:pt x="37" y="180"/>
                </a:lnTo>
                <a:lnTo>
                  <a:pt x="46" y="194"/>
                </a:lnTo>
                <a:lnTo>
                  <a:pt x="54" y="206"/>
                </a:lnTo>
                <a:lnTo>
                  <a:pt x="63" y="217"/>
                </a:lnTo>
                <a:lnTo>
                  <a:pt x="72" y="226"/>
                </a:lnTo>
                <a:lnTo>
                  <a:pt x="82" y="235"/>
                </a:lnTo>
                <a:lnTo>
                  <a:pt x="91" y="243"/>
                </a:lnTo>
                <a:lnTo>
                  <a:pt x="98" y="249"/>
                </a:lnTo>
                <a:lnTo>
                  <a:pt x="107" y="255"/>
                </a:lnTo>
                <a:lnTo>
                  <a:pt x="107" y="456"/>
                </a:lnTo>
                <a:lnTo>
                  <a:pt x="251" y="456"/>
                </a:lnTo>
                <a:lnTo>
                  <a:pt x="251" y="255"/>
                </a:lnTo>
                <a:lnTo>
                  <a:pt x="262" y="248"/>
                </a:lnTo>
                <a:lnTo>
                  <a:pt x="271" y="242"/>
                </a:lnTo>
                <a:lnTo>
                  <a:pt x="281" y="234"/>
                </a:lnTo>
                <a:lnTo>
                  <a:pt x="290" y="225"/>
                </a:lnTo>
                <a:lnTo>
                  <a:pt x="299" y="215"/>
                </a:lnTo>
                <a:lnTo>
                  <a:pt x="308" y="203"/>
                </a:lnTo>
                <a:lnTo>
                  <a:pt x="317" y="192"/>
                </a:lnTo>
                <a:lnTo>
                  <a:pt x="325" y="177"/>
                </a:lnTo>
                <a:lnTo>
                  <a:pt x="332" y="162"/>
                </a:lnTo>
                <a:lnTo>
                  <a:pt x="339" y="145"/>
                </a:lnTo>
                <a:lnTo>
                  <a:pt x="345" y="127"/>
                </a:lnTo>
                <a:lnTo>
                  <a:pt x="350" y="108"/>
                </a:lnTo>
                <a:lnTo>
                  <a:pt x="354" y="86"/>
                </a:lnTo>
                <a:lnTo>
                  <a:pt x="357" y="63"/>
                </a:lnTo>
                <a:lnTo>
                  <a:pt x="359" y="39"/>
                </a:lnTo>
                <a:lnTo>
                  <a:pt x="359" y="12"/>
                </a:lnTo>
                <a:lnTo>
                  <a:pt x="359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Freeform 3394">
            <a:extLst>
              <a:ext uri="{FF2B5EF4-FFF2-40B4-BE49-F238E27FC236}">
                <a16:creationId xmlns:a16="http://schemas.microsoft.com/office/drawing/2014/main" id="{62EC7986-7572-4225-9DFD-F432127658CF}"/>
              </a:ext>
            </a:extLst>
          </p:cNvPr>
          <p:cNvSpPr>
            <a:spLocks/>
          </p:cNvSpPr>
          <p:nvPr/>
        </p:nvSpPr>
        <p:spPr bwMode="auto">
          <a:xfrm>
            <a:off x="7208377" y="2100263"/>
            <a:ext cx="122771" cy="120760"/>
          </a:xfrm>
          <a:custGeom>
            <a:avLst/>
            <a:gdLst>
              <a:gd name="T0" fmla="*/ 132 w 241"/>
              <a:gd name="T1" fmla="*/ 239 h 240"/>
              <a:gd name="T2" fmla="*/ 156 w 241"/>
              <a:gd name="T3" fmla="*/ 235 h 240"/>
              <a:gd name="T4" fmla="*/ 177 w 241"/>
              <a:gd name="T5" fmla="*/ 226 h 240"/>
              <a:gd name="T6" fmla="*/ 196 w 241"/>
              <a:gd name="T7" fmla="*/ 212 h 240"/>
              <a:gd name="T8" fmla="*/ 213 w 241"/>
              <a:gd name="T9" fmla="*/ 196 h 240"/>
              <a:gd name="T10" fmla="*/ 226 w 241"/>
              <a:gd name="T11" fmla="*/ 177 h 240"/>
              <a:gd name="T12" fmla="*/ 235 w 241"/>
              <a:gd name="T13" fmla="*/ 155 h 240"/>
              <a:gd name="T14" fmla="*/ 240 w 241"/>
              <a:gd name="T15" fmla="*/ 132 h 240"/>
              <a:gd name="T16" fmla="*/ 240 w 241"/>
              <a:gd name="T17" fmla="*/ 108 h 240"/>
              <a:gd name="T18" fmla="*/ 235 w 241"/>
              <a:gd name="T19" fmla="*/ 83 h 240"/>
              <a:gd name="T20" fmla="*/ 226 w 241"/>
              <a:gd name="T21" fmla="*/ 63 h 240"/>
              <a:gd name="T22" fmla="*/ 213 w 241"/>
              <a:gd name="T23" fmla="*/ 43 h 240"/>
              <a:gd name="T24" fmla="*/ 196 w 241"/>
              <a:gd name="T25" fmla="*/ 27 h 240"/>
              <a:gd name="T26" fmla="*/ 177 w 241"/>
              <a:gd name="T27" fmla="*/ 14 h 240"/>
              <a:gd name="T28" fmla="*/ 156 w 241"/>
              <a:gd name="T29" fmla="*/ 5 h 240"/>
              <a:gd name="T30" fmla="*/ 132 w 241"/>
              <a:gd name="T31" fmla="*/ 0 h 240"/>
              <a:gd name="T32" fmla="*/ 108 w 241"/>
              <a:gd name="T33" fmla="*/ 0 h 240"/>
              <a:gd name="T34" fmla="*/ 84 w 241"/>
              <a:gd name="T35" fmla="*/ 5 h 240"/>
              <a:gd name="T36" fmla="*/ 63 w 241"/>
              <a:gd name="T37" fmla="*/ 14 h 240"/>
              <a:gd name="T38" fmla="*/ 43 w 241"/>
              <a:gd name="T39" fmla="*/ 27 h 240"/>
              <a:gd name="T40" fmla="*/ 28 w 241"/>
              <a:gd name="T41" fmla="*/ 43 h 240"/>
              <a:gd name="T42" fmla="*/ 15 w 241"/>
              <a:gd name="T43" fmla="*/ 63 h 240"/>
              <a:gd name="T44" fmla="*/ 6 w 241"/>
              <a:gd name="T45" fmla="*/ 83 h 240"/>
              <a:gd name="T46" fmla="*/ 1 w 241"/>
              <a:gd name="T47" fmla="*/ 108 h 240"/>
              <a:gd name="T48" fmla="*/ 1 w 241"/>
              <a:gd name="T49" fmla="*/ 132 h 240"/>
              <a:gd name="T50" fmla="*/ 6 w 241"/>
              <a:gd name="T51" fmla="*/ 155 h 240"/>
              <a:gd name="T52" fmla="*/ 15 w 241"/>
              <a:gd name="T53" fmla="*/ 177 h 240"/>
              <a:gd name="T54" fmla="*/ 28 w 241"/>
              <a:gd name="T55" fmla="*/ 196 h 240"/>
              <a:gd name="T56" fmla="*/ 43 w 241"/>
              <a:gd name="T57" fmla="*/ 212 h 240"/>
              <a:gd name="T58" fmla="*/ 63 w 241"/>
              <a:gd name="T59" fmla="*/ 226 h 240"/>
              <a:gd name="T60" fmla="*/ 84 w 241"/>
              <a:gd name="T61" fmla="*/ 235 h 240"/>
              <a:gd name="T62" fmla="*/ 108 w 241"/>
              <a:gd name="T63" fmla="*/ 239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41" h="240">
                <a:moveTo>
                  <a:pt x="120" y="240"/>
                </a:moveTo>
                <a:lnTo>
                  <a:pt x="132" y="239"/>
                </a:lnTo>
                <a:lnTo>
                  <a:pt x="145" y="237"/>
                </a:lnTo>
                <a:lnTo>
                  <a:pt x="156" y="235"/>
                </a:lnTo>
                <a:lnTo>
                  <a:pt x="167" y="230"/>
                </a:lnTo>
                <a:lnTo>
                  <a:pt x="177" y="226"/>
                </a:lnTo>
                <a:lnTo>
                  <a:pt x="187" y="219"/>
                </a:lnTo>
                <a:lnTo>
                  <a:pt x="196" y="212"/>
                </a:lnTo>
                <a:lnTo>
                  <a:pt x="205" y="204"/>
                </a:lnTo>
                <a:lnTo>
                  <a:pt x="213" y="196"/>
                </a:lnTo>
                <a:lnTo>
                  <a:pt x="221" y="187"/>
                </a:lnTo>
                <a:lnTo>
                  <a:pt x="226" y="177"/>
                </a:lnTo>
                <a:lnTo>
                  <a:pt x="231" y="167"/>
                </a:lnTo>
                <a:lnTo>
                  <a:pt x="235" y="155"/>
                </a:lnTo>
                <a:lnTo>
                  <a:pt x="239" y="144"/>
                </a:lnTo>
                <a:lnTo>
                  <a:pt x="240" y="132"/>
                </a:lnTo>
                <a:lnTo>
                  <a:pt x="241" y="119"/>
                </a:lnTo>
                <a:lnTo>
                  <a:pt x="240" y="108"/>
                </a:lnTo>
                <a:lnTo>
                  <a:pt x="239" y="95"/>
                </a:lnTo>
                <a:lnTo>
                  <a:pt x="235" y="83"/>
                </a:lnTo>
                <a:lnTo>
                  <a:pt x="231" y="73"/>
                </a:lnTo>
                <a:lnTo>
                  <a:pt x="226" y="63"/>
                </a:lnTo>
                <a:lnTo>
                  <a:pt x="221" y="52"/>
                </a:lnTo>
                <a:lnTo>
                  <a:pt x="213" y="43"/>
                </a:lnTo>
                <a:lnTo>
                  <a:pt x="205" y="34"/>
                </a:lnTo>
                <a:lnTo>
                  <a:pt x="196" y="27"/>
                </a:lnTo>
                <a:lnTo>
                  <a:pt x="187" y="20"/>
                </a:lnTo>
                <a:lnTo>
                  <a:pt x="177" y="14"/>
                </a:lnTo>
                <a:lnTo>
                  <a:pt x="167" y="9"/>
                </a:lnTo>
                <a:lnTo>
                  <a:pt x="156" y="5"/>
                </a:lnTo>
                <a:lnTo>
                  <a:pt x="145" y="2"/>
                </a:lnTo>
                <a:lnTo>
                  <a:pt x="132" y="0"/>
                </a:lnTo>
                <a:lnTo>
                  <a:pt x="120" y="0"/>
                </a:lnTo>
                <a:lnTo>
                  <a:pt x="108" y="0"/>
                </a:lnTo>
                <a:lnTo>
                  <a:pt x="96" y="2"/>
                </a:lnTo>
                <a:lnTo>
                  <a:pt x="84" y="5"/>
                </a:lnTo>
                <a:lnTo>
                  <a:pt x="74" y="9"/>
                </a:lnTo>
                <a:lnTo>
                  <a:pt x="63" y="14"/>
                </a:lnTo>
                <a:lnTo>
                  <a:pt x="54" y="20"/>
                </a:lnTo>
                <a:lnTo>
                  <a:pt x="43" y="27"/>
                </a:lnTo>
                <a:lnTo>
                  <a:pt x="36" y="34"/>
                </a:lnTo>
                <a:lnTo>
                  <a:pt x="28" y="43"/>
                </a:lnTo>
                <a:lnTo>
                  <a:pt x="20" y="52"/>
                </a:lnTo>
                <a:lnTo>
                  <a:pt x="15" y="63"/>
                </a:lnTo>
                <a:lnTo>
                  <a:pt x="10" y="73"/>
                </a:lnTo>
                <a:lnTo>
                  <a:pt x="6" y="83"/>
                </a:lnTo>
                <a:lnTo>
                  <a:pt x="2" y="95"/>
                </a:lnTo>
                <a:lnTo>
                  <a:pt x="1" y="108"/>
                </a:lnTo>
                <a:lnTo>
                  <a:pt x="0" y="119"/>
                </a:lnTo>
                <a:lnTo>
                  <a:pt x="1" y="132"/>
                </a:lnTo>
                <a:lnTo>
                  <a:pt x="2" y="144"/>
                </a:lnTo>
                <a:lnTo>
                  <a:pt x="6" y="155"/>
                </a:lnTo>
                <a:lnTo>
                  <a:pt x="10" y="167"/>
                </a:lnTo>
                <a:lnTo>
                  <a:pt x="15" y="177"/>
                </a:lnTo>
                <a:lnTo>
                  <a:pt x="20" y="187"/>
                </a:lnTo>
                <a:lnTo>
                  <a:pt x="28" y="196"/>
                </a:lnTo>
                <a:lnTo>
                  <a:pt x="36" y="204"/>
                </a:lnTo>
                <a:lnTo>
                  <a:pt x="43" y="212"/>
                </a:lnTo>
                <a:lnTo>
                  <a:pt x="54" y="219"/>
                </a:lnTo>
                <a:lnTo>
                  <a:pt x="63" y="226"/>
                </a:lnTo>
                <a:lnTo>
                  <a:pt x="74" y="230"/>
                </a:lnTo>
                <a:lnTo>
                  <a:pt x="84" y="235"/>
                </a:lnTo>
                <a:lnTo>
                  <a:pt x="96" y="237"/>
                </a:lnTo>
                <a:lnTo>
                  <a:pt x="108" y="239"/>
                </a:lnTo>
                <a:lnTo>
                  <a:pt x="120" y="24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4" name="Group 710">
            <a:extLst>
              <a:ext uri="{FF2B5EF4-FFF2-40B4-BE49-F238E27FC236}">
                <a16:creationId xmlns:a16="http://schemas.microsoft.com/office/drawing/2014/main" id="{E37E4425-01CF-40C3-BA01-DB40563EA912}"/>
              </a:ext>
            </a:extLst>
          </p:cNvPr>
          <p:cNvGrpSpPr/>
          <p:nvPr/>
        </p:nvGrpSpPr>
        <p:grpSpPr>
          <a:xfrm>
            <a:off x="6237389" y="3069497"/>
            <a:ext cx="181139" cy="362279"/>
            <a:chOff x="7085013" y="5922963"/>
            <a:chExt cx="142875" cy="285750"/>
          </a:xfrm>
          <a:solidFill>
            <a:schemeClr val="bg1">
              <a:lumMod val="65000"/>
            </a:schemeClr>
          </a:solidFill>
        </p:grpSpPr>
        <p:sp>
          <p:nvSpPr>
            <p:cNvPr id="275" name="Freeform 3394">
              <a:extLst>
                <a:ext uri="{FF2B5EF4-FFF2-40B4-BE49-F238E27FC236}">
                  <a16:creationId xmlns:a16="http://schemas.microsoft.com/office/drawing/2014/main" id="{B265E37A-2D59-4B4A-81C2-CC6D2C9D6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3395">
              <a:extLst>
                <a:ext uri="{FF2B5EF4-FFF2-40B4-BE49-F238E27FC236}">
                  <a16:creationId xmlns:a16="http://schemas.microsoft.com/office/drawing/2014/main" id="{19D97FC6-0259-41F2-B188-737D2BBD2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7" name="Group 708">
            <a:extLst>
              <a:ext uri="{FF2B5EF4-FFF2-40B4-BE49-F238E27FC236}">
                <a16:creationId xmlns:a16="http://schemas.microsoft.com/office/drawing/2014/main" id="{C78F0F39-12F1-4256-B776-C73407258F95}"/>
              </a:ext>
            </a:extLst>
          </p:cNvPr>
          <p:cNvGrpSpPr/>
          <p:nvPr/>
        </p:nvGrpSpPr>
        <p:grpSpPr>
          <a:xfrm>
            <a:off x="5584260" y="4024178"/>
            <a:ext cx="181139" cy="362279"/>
            <a:chOff x="7085013" y="5922963"/>
            <a:chExt cx="142875" cy="285750"/>
          </a:xfrm>
          <a:solidFill>
            <a:schemeClr val="accent2"/>
          </a:solidFill>
        </p:grpSpPr>
        <p:sp>
          <p:nvSpPr>
            <p:cNvPr id="278" name="Freeform 3394">
              <a:extLst>
                <a:ext uri="{FF2B5EF4-FFF2-40B4-BE49-F238E27FC236}">
                  <a16:creationId xmlns:a16="http://schemas.microsoft.com/office/drawing/2014/main" id="{CBB13C6B-F111-4EA3-8AD2-0B6CBAFE1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3395">
              <a:extLst>
                <a:ext uri="{FF2B5EF4-FFF2-40B4-BE49-F238E27FC236}">
                  <a16:creationId xmlns:a16="http://schemas.microsoft.com/office/drawing/2014/main" id="{34A97262-9ED0-4D2F-B9CB-7458E78EA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0" name="Group 708">
            <a:extLst>
              <a:ext uri="{FF2B5EF4-FFF2-40B4-BE49-F238E27FC236}">
                <a16:creationId xmlns:a16="http://schemas.microsoft.com/office/drawing/2014/main" id="{C78F0F39-12F1-4256-B776-C73407258F95}"/>
              </a:ext>
            </a:extLst>
          </p:cNvPr>
          <p:cNvGrpSpPr/>
          <p:nvPr/>
        </p:nvGrpSpPr>
        <p:grpSpPr>
          <a:xfrm>
            <a:off x="5229922" y="4024231"/>
            <a:ext cx="181139" cy="362279"/>
            <a:chOff x="7085013" y="5922963"/>
            <a:chExt cx="142875" cy="285750"/>
          </a:xfrm>
          <a:solidFill>
            <a:schemeClr val="accent2"/>
          </a:solidFill>
        </p:grpSpPr>
        <p:sp>
          <p:nvSpPr>
            <p:cNvPr id="287" name="Freeform 3394">
              <a:extLst>
                <a:ext uri="{FF2B5EF4-FFF2-40B4-BE49-F238E27FC236}">
                  <a16:creationId xmlns:a16="http://schemas.microsoft.com/office/drawing/2014/main" id="{CBB13C6B-F111-4EA3-8AD2-0B6CBAFE1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3395">
              <a:extLst>
                <a:ext uri="{FF2B5EF4-FFF2-40B4-BE49-F238E27FC236}">
                  <a16:creationId xmlns:a16="http://schemas.microsoft.com/office/drawing/2014/main" id="{34A97262-9ED0-4D2F-B9CB-7458E78EA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9" name="Group 708">
            <a:extLst>
              <a:ext uri="{FF2B5EF4-FFF2-40B4-BE49-F238E27FC236}">
                <a16:creationId xmlns:a16="http://schemas.microsoft.com/office/drawing/2014/main" id="{C78F0F39-12F1-4256-B776-C73407258F95}"/>
              </a:ext>
            </a:extLst>
          </p:cNvPr>
          <p:cNvGrpSpPr/>
          <p:nvPr/>
        </p:nvGrpSpPr>
        <p:grpSpPr>
          <a:xfrm>
            <a:off x="5340609" y="4947302"/>
            <a:ext cx="181139" cy="362279"/>
            <a:chOff x="7085013" y="5922963"/>
            <a:chExt cx="142875" cy="285750"/>
          </a:xfrm>
          <a:solidFill>
            <a:schemeClr val="accent2"/>
          </a:solidFill>
        </p:grpSpPr>
        <p:sp>
          <p:nvSpPr>
            <p:cNvPr id="290" name="Freeform 3394">
              <a:extLst>
                <a:ext uri="{FF2B5EF4-FFF2-40B4-BE49-F238E27FC236}">
                  <a16:creationId xmlns:a16="http://schemas.microsoft.com/office/drawing/2014/main" id="{CBB13C6B-F111-4EA3-8AD2-0B6CBAFE1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3395">
              <a:extLst>
                <a:ext uri="{FF2B5EF4-FFF2-40B4-BE49-F238E27FC236}">
                  <a16:creationId xmlns:a16="http://schemas.microsoft.com/office/drawing/2014/main" id="{34A97262-9ED0-4D2F-B9CB-7458E78EA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2" name="Group 708">
            <a:extLst>
              <a:ext uri="{FF2B5EF4-FFF2-40B4-BE49-F238E27FC236}">
                <a16:creationId xmlns:a16="http://schemas.microsoft.com/office/drawing/2014/main" id="{C78F0F39-12F1-4256-B776-C73407258F95}"/>
              </a:ext>
            </a:extLst>
          </p:cNvPr>
          <p:cNvGrpSpPr/>
          <p:nvPr/>
        </p:nvGrpSpPr>
        <p:grpSpPr>
          <a:xfrm>
            <a:off x="5084931" y="4937311"/>
            <a:ext cx="181139" cy="362279"/>
            <a:chOff x="7085013" y="5922963"/>
            <a:chExt cx="142875" cy="285750"/>
          </a:xfrm>
          <a:solidFill>
            <a:schemeClr val="accent2"/>
          </a:solidFill>
        </p:grpSpPr>
        <p:sp>
          <p:nvSpPr>
            <p:cNvPr id="293" name="Freeform 3394">
              <a:extLst>
                <a:ext uri="{FF2B5EF4-FFF2-40B4-BE49-F238E27FC236}">
                  <a16:creationId xmlns:a16="http://schemas.microsoft.com/office/drawing/2014/main" id="{CBB13C6B-F111-4EA3-8AD2-0B6CBAFE1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3395">
              <a:extLst>
                <a:ext uri="{FF2B5EF4-FFF2-40B4-BE49-F238E27FC236}">
                  <a16:creationId xmlns:a16="http://schemas.microsoft.com/office/drawing/2014/main" id="{34A97262-9ED0-4D2F-B9CB-7458E78EA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5" name="Group 708">
            <a:extLst>
              <a:ext uri="{FF2B5EF4-FFF2-40B4-BE49-F238E27FC236}">
                <a16:creationId xmlns:a16="http://schemas.microsoft.com/office/drawing/2014/main" id="{C78F0F39-12F1-4256-B776-C73407258F95}"/>
              </a:ext>
            </a:extLst>
          </p:cNvPr>
          <p:cNvGrpSpPr/>
          <p:nvPr/>
        </p:nvGrpSpPr>
        <p:grpSpPr>
          <a:xfrm>
            <a:off x="4853497" y="4939994"/>
            <a:ext cx="181139" cy="362279"/>
            <a:chOff x="7085013" y="5922963"/>
            <a:chExt cx="142875" cy="285750"/>
          </a:xfrm>
          <a:solidFill>
            <a:schemeClr val="accent2"/>
          </a:solidFill>
        </p:grpSpPr>
        <p:sp>
          <p:nvSpPr>
            <p:cNvPr id="296" name="Freeform 3394">
              <a:extLst>
                <a:ext uri="{FF2B5EF4-FFF2-40B4-BE49-F238E27FC236}">
                  <a16:creationId xmlns:a16="http://schemas.microsoft.com/office/drawing/2014/main" id="{CBB13C6B-F111-4EA3-8AD2-0B6CBAFE1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3395">
              <a:extLst>
                <a:ext uri="{FF2B5EF4-FFF2-40B4-BE49-F238E27FC236}">
                  <a16:creationId xmlns:a16="http://schemas.microsoft.com/office/drawing/2014/main" id="{34A97262-9ED0-4D2F-B9CB-7458E78EA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8" name="Group 708">
            <a:extLst>
              <a:ext uri="{FF2B5EF4-FFF2-40B4-BE49-F238E27FC236}">
                <a16:creationId xmlns:a16="http://schemas.microsoft.com/office/drawing/2014/main" id="{C78F0F39-12F1-4256-B776-C73407258F95}"/>
              </a:ext>
            </a:extLst>
          </p:cNvPr>
          <p:cNvGrpSpPr/>
          <p:nvPr/>
        </p:nvGrpSpPr>
        <p:grpSpPr>
          <a:xfrm>
            <a:off x="4580209" y="4949050"/>
            <a:ext cx="181139" cy="362279"/>
            <a:chOff x="7085013" y="5922963"/>
            <a:chExt cx="142875" cy="285750"/>
          </a:xfrm>
          <a:solidFill>
            <a:schemeClr val="accent2"/>
          </a:solidFill>
        </p:grpSpPr>
        <p:sp>
          <p:nvSpPr>
            <p:cNvPr id="299" name="Freeform 3394">
              <a:extLst>
                <a:ext uri="{FF2B5EF4-FFF2-40B4-BE49-F238E27FC236}">
                  <a16:creationId xmlns:a16="http://schemas.microsoft.com/office/drawing/2014/main" id="{CBB13C6B-F111-4EA3-8AD2-0B6CBAFE1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3395">
              <a:extLst>
                <a:ext uri="{FF2B5EF4-FFF2-40B4-BE49-F238E27FC236}">
                  <a16:creationId xmlns:a16="http://schemas.microsoft.com/office/drawing/2014/main" id="{34A97262-9ED0-4D2F-B9CB-7458E78EA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83394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86"/>
          <p:cNvSpPr/>
          <p:nvPr/>
        </p:nvSpPr>
        <p:spPr>
          <a:xfrm rot="900000">
            <a:off x="548796" y="307544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882037" y="1340407"/>
            <a:ext cx="885365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tabLst>
                <a:tab pos="2900680" algn="l"/>
              </a:tabLst>
            </a:pPr>
            <a:r>
              <a:rPr lang="ru-RU" sz="20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участия в олимпиадах за</a:t>
            </a:r>
            <a:r>
              <a:rPr lang="ru-RU" sz="32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года </a:t>
            </a:r>
          </a:p>
        </p:txBody>
      </p:sp>
      <p:sp>
        <p:nvSpPr>
          <p:cNvPr id="4" name="TextBox 1">
            <a:extLst>
              <a:ext uri="{FF2B5EF4-FFF2-40B4-BE49-F238E27FC236}">
                <a16:creationId xmlns:a16="http://schemas.microsoft.com/office/drawing/2014/main" id="{1F3B275F-1BB7-9F33-79DF-EBDCEAE7218D}"/>
              </a:ext>
            </a:extLst>
          </p:cNvPr>
          <p:cNvSpPr txBox="1"/>
          <p:nvPr/>
        </p:nvSpPr>
        <p:spPr>
          <a:xfrm>
            <a:off x="1338881" y="3988815"/>
            <a:ext cx="70676" cy="196828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ru-RU" sz="11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30E76F-603D-825B-2826-77998DF873B7}"/>
              </a:ext>
            </a:extLst>
          </p:cNvPr>
          <p:cNvSpPr txBox="1"/>
          <p:nvPr/>
        </p:nvSpPr>
        <p:spPr>
          <a:xfrm>
            <a:off x="932507" y="447940"/>
            <a:ext cx="75321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ижение вверх!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2F9F3B-C4D9-9EF7-632F-EC2F363EF6DE}"/>
              </a:ext>
            </a:extLst>
          </p:cNvPr>
          <p:cNvSpPr txBox="1"/>
          <p:nvPr/>
        </p:nvSpPr>
        <p:spPr>
          <a:xfrm>
            <a:off x="2296985" y="4854997"/>
            <a:ext cx="6023757" cy="17748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ежегодная церемония чествования победителей и призёров муниципального этапа всероссийской олимпиады школьников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оржественные линейки, посвящённые итогу школьного этапа всероссийской олимпиады школьников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частие в профильных сменах на базе образовательного центра «Взлёт», МБУ ДО ДДТ «Лира»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бучение учащихся на курсах на базе образовательного центра «Взлёт»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ндивидуальный образовательный маршрут</a:t>
            </a:r>
            <a:endParaRPr lang="ru-RU" sz="1600" dirty="0"/>
          </a:p>
        </p:txBody>
      </p:sp>
      <p:grpSp>
        <p:nvGrpSpPr>
          <p:cNvPr id="36" name="Группа 35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42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873382017"/>
              </p:ext>
            </p:extLst>
          </p:nvPr>
        </p:nvGraphicFramePr>
        <p:xfrm>
          <a:off x="450058" y="1832850"/>
          <a:ext cx="54864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1228197246"/>
              </p:ext>
            </p:extLst>
          </p:nvPr>
        </p:nvGraphicFramePr>
        <p:xfrm>
          <a:off x="6332415" y="2372281"/>
          <a:ext cx="3824317" cy="25069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915360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86"/>
          <p:cNvSpPr/>
          <p:nvPr/>
        </p:nvSpPr>
        <p:spPr>
          <a:xfrm rot="900000">
            <a:off x="610691" y="281505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746218" y="495181"/>
            <a:ext cx="801324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российская олимпиада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835321F-C1E3-45BB-A66F-FF513EA1E712}"/>
              </a:ext>
            </a:extLst>
          </p:cNvPr>
          <p:cNvSpPr txBox="1"/>
          <p:nvPr/>
        </p:nvSpPr>
        <p:spPr>
          <a:xfrm>
            <a:off x="5087565" y="1736892"/>
            <a:ext cx="50245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err="1"/>
              <a:t>Бабинин</a:t>
            </a:r>
            <a:r>
              <a:rPr lang="ru-RU" b="1" dirty="0"/>
              <a:t> Никита Михайлович</a:t>
            </a:r>
            <a:endParaRPr lang="ru-RU" dirty="0"/>
          </a:p>
          <a:p>
            <a:pPr algn="ctr"/>
            <a:r>
              <a:rPr lang="ru-RU" b="1" dirty="0"/>
              <a:t>призер регионального этапа ВСОШ</a:t>
            </a:r>
            <a:endParaRPr lang="ru-RU" dirty="0"/>
          </a:p>
          <a:p>
            <a:pPr algn="ctr"/>
            <a:r>
              <a:rPr lang="ru-RU" b="1" dirty="0"/>
              <a:t>по русскому языку</a:t>
            </a:r>
            <a:endParaRPr lang="ru-RU" dirty="0"/>
          </a:p>
          <a:p>
            <a:pPr algn="ctr"/>
            <a:r>
              <a:rPr lang="ru-RU" b="1" dirty="0"/>
              <a:t>9 класс</a:t>
            </a:r>
            <a:endParaRPr lang="ru-RU" dirty="0"/>
          </a:p>
          <a:p>
            <a:pPr algn="ctr"/>
            <a:endParaRPr lang="ko-KR" altLang="en-US" sz="1200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Группа 42"/>
          <p:cNvGrpSpPr/>
          <p:nvPr/>
        </p:nvGrpSpPr>
        <p:grpSpPr>
          <a:xfrm>
            <a:off x="10609503" y="-89782"/>
            <a:ext cx="1913296" cy="6654796"/>
            <a:chOff x="10277972" y="0"/>
            <a:chExt cx="1914028" cy="7328502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10277972" y="0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0433045" y="3105071"/>
              <a:ext cx="1555599" cy="643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10333587" y="3668007"/>
              <a:ext cx="1627353" cy="36604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Муниципальное автономное общеобразовательное учреждение</a:t>
              </a:r>
            </a:p>
            <a:p>
              <a:pPr lvl="0"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Востряковский лицей №1</a:t>
              </a:r>
            </a:p>
            <a:p>
              <a:pPr lvl="0">
                <a:tabLst>
                  <a:tab pos="0" algn="l"/>
                </a:tabLst>
              </a:pP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	Адрес:</a:t>
              </a:r>
            </a:p>
            <a:p>
              <a:pPr lvl="0"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	142007,</a:t>
              </a:r>
            </a:p>
            <a:p>
              <a:pPr lvl="0"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Московская область,</a:t>
              </a:r>
            </a:p>
            <a:p>
              <a:pPr lvl="0"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	Домодедово,</a:t>
              </a:r>
            </a:p>
            <a:p>
              <a:pPr lvl="0"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мкр. Авиационный,</a:t>
              </a:r>
            </a:p>
            <a:p>
              <a:pPr lvl="0"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	ул. Жуковского, стр.15</a:t>
              </a:r>
            </a:p>
            <a:p>
              <a:pPr lvl="0">
                <a:tabLst>
                  <a:tab pos="0" algn="l"/>
                </a:tabLst>
              </a:pP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	Контакты:</a:t>
              </a:r>
            </a:p>
            <a:p>
              <a:pPr lvl="0"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	8 (496) 792-52-95</a:t>
              </a: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  <a:hlinkClick r:id="rId3"/>
              </a:endParaRPr>
            </a:p>
            <a:p>
              <a:pPr lvl="0"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dmdd_vostr_licey1@mosreg.ru</a:t>
              </a:r>
            </a:p>
            <a:p>
              <a:pPr>
                <a:tabLst>
                  <a:tab pos="0" algn="l"/>
                </a:tabLst>
              </a:pPr>
              <a:endParaRPr lang="ru-RU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tabLst>
                  <a:tab pos="0" algn="l"/>
                </a:tabLst>
              </a:pPr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endParaRPr lang="en-US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4" name="Группа 63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65" name="Прямоугольник 64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67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8" name="Рисунок 67"/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69" name="Рисунок 68"/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29" name="Рисунок 28" descr="C:\Users\Александр\Desktop\WhatsApp Image 2023-01-31 at 19.18.44.jpeg"/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93"/>
          <a:stretch/>
        </p:blipFill>
        <p:spPr bwMode="auto">
          <a:xfrm>
            <a:off x="1680157" y="1363606"/>
            <a:ext cx="2896548" cy="375484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2" name="Рисунок 31" descr="C:\Users\Александр\Desktop\WhatsApp Image 2023-01-31 at 19.21.58.jpeg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7" r="5930"/>
          <a:stretch/>
        </p:blipFill>
        <p:spPr bwMode="auto">
          <a:xfrm>
            <a:off x="5937970" y="3129800"/>
            <a:ext cx="3322987" cy="333224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F835321F-C1E3-45BB-A66F-FF513EA1E712}"/>
              </a:ext>
            </a:extLst>
          </p:cNvPr>
          <p:cNvSpPr txBox="1"/>
          <p:nvPr/>
        </p:nvSpPr>
        <p:spPr>
          <a:xfrm>
            <a:off x="587294" y="5243400"/>
            <a:ext cx="50245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err="1"/>
              <a:t>Параничева</a:t>
            </a:r>
            <a:r>
              <a:rPr lang="ru-RU" b="1" dirty="0"/>
              <a:t> София Александровна</a:t>
            </a:r>
            <a:endParaRPr lang="ru-RU" dirty="0"/>
          </a:p>
          <a:p>
            <a:pPr algn="ctr"/>
            <a:r>
              <a:rPr lang="ru-RU" b="1" dirty="0"/>
              <a:t>призер регионального этапа ВСОШ</a:t>
            </a:r>
            <a:endParaRPr lang="ru-RU" dirty="0"/>
          </a:p>
          <a:p>
            <a:pPr algn="ctr"/>
            <a:r>
              <a:rPr lang="ru-RU" b="1" dirty="0"/>
              <a:t>по МХК и обществознанию</a:t>
            </a:r>
            <a:endParaRPr lang="ru-RU" dirty="0"/>
          </a:p>
          <a:p>
            <a:pPr algn="ctr"/>
            <a:r>
              <a:rPr lang="ru-RU" b="1" dirty="0"/>
              <a:t>9 класс</a:t>
            </a:r>
            <a:endParaRPr lang="ru-RU" dirty="0"/>
          </a:p>
          <a:p>
            <a:pPr algn="ctr"/>
            <a:endParaRPr lang="ko-KR" altLang="en-US" sz="1200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9048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45"/>
          <p:cNvSpPr txBox="1"/>
          <p:nvPr/>
        </p:nvSpPr>
        <p:spPr>
          <a:xfrm>
            <a:off x="376159" y="2394105"/>
            <a:ext cx="9639082" cy="26314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rtl="0" eaLnBrk="1" fontAlgn="t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ольшие</a:t>
            </a:r>
            <a:r>
              <a:rPr lang="ru-RU" sz="1600" i="0" u="none" strike="noStrike" kern="1200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зовы</a:t>
            </a: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	1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</a:t>
            </a:r>
            <a:endParaRPr lang="ru-RU" sz="1600" i="0" u="none" strike="noStrike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rtl="0" eaLnBrk="1" fontAlgn="t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дмосковная олимпиада школьников	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призёров</a:t>
            </a:r>
          </a:p>
          <a:p>
            <a:pPr marL="171450" indent="-1714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ord Skills junior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изер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0" indent="-171450" fontAlgn="t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то Господне	1 участник </a:t>
            </a:r>
          </a:p>
          <a:p>
            <a:pPr marL="171450" indent="-171450" fontAlgn="t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Юные таланты Московии	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 участника</a:t>
            </a:r>
          </a:p>
          <a:p>
            <a:pPr marL="171450" indent="-171450" fontAlgn="t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крытие - 2030                                                                                                        1 призер</a:t>
            </a:r>
          </a:p>
        </p:txBody>
      </p:sp>
      <p:sp>
        <p:nvSpPr>
          <p:cNvPr id="29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70" y="667494"/>
            <a:ext cx="717127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мпиады и конкурсы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934142" y="1162837"/>
            <a:ext cx="81425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pc="600" dirty="0">
                <a:latin typeface="Arial"/>
                <a:cs typeface="Arial"/>
              </a:rPr>
              <a:t>Всероссийский и региональный уровни</a:t>
            </a:r>
            <a:endParaRPr lang="ru-RU" dirty="0"/>
          </a:p>
        </p:txBody>
      </p:sp>
      <p:grpSp>
        <p:nvGrpSpPr>
          <p:cNvPr id="24" name="Группа 23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7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Рисунок 27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grpSp>
        <p:nvGrpSpPr>
          <p:cNvPr id="8" name="Группа 7"/>
          <p:cNvGrpSpPr/>
          <p:nvPr/>
        </p:nvGrpSpPr>
        <p:grpSpPr>
          <a:xfrm>
            <a:off x="516047" y="2204720"/>
            <a:ext cx="9359427" cy="3544463"/>
            <a:chOff x="516047" y="2582085"/>
            <a:chExt cx="9359427" cy="3167098"/>
          </a:xfrm>
        </p:grpSpPr>
        <p:cxnSp>
          <p:nvCxnSpPr>
            <p:cNvPr id="34" name="Straight Connector 10">
              <a:extLst>
                <a:ext uri="{FF2B5EF4-FFF2-40B4-BE49-F238E27FC236}">
                  <a16:creationId xmlns:a16="http://schemas.microsoft.com/office/drawing/2014/main" id="{CEF4905C-4FC0-47AF-34A4-FAB14C7F8064}"/>
                </a:ext>
              </a:extLst>
            </p:cNvPr>
            <p:cNvCxnSpPr>
              <a:cxnSpLocks/>
            </p:cNvCxnSpPr>
            <p:nvPr/>
          </p:nvCxnSpPr>
          <p:spPr>
            <a:xfrm>
              <a:off x="516047" y="2582085"/>
              <a:ext cx="9359306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0"/>
            <p:cNvCxnSpPr>
              <a:cxnSpLocks/>
            </p:cNvCxnSpPr>
            <p:nvPr/>
          </p:nvCxnSpPr>
          <p:spPr>
            <a:xfrm>
              <a:off x="516047" y="3939413"/>
              <a:ext cx="9359427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0"/>
            <p:cNvCxnSpPr>
              <a:cxnSpLocks/>
            </p:cNvCxnSpPr>
            <p:nvPr/>
          </p:nvCxnSpPr>
          <p:spPr>
            <a:xfrm>
              <a:off x="516047" y="3034528"/>
              <a:ext cx="9359306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0"/>
            <p:cNvCxnSpPr>
              <a:cxnSpLocks/>
            </p:cNvCxnSpPr>
            <p:nvPr/>
          </p:nvCxnSpPr>
          <p:spPr>
            <a:xfrm>
              <a:off x="516047" y="4391856"/>
              <a:ext cx="9359306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10"/>
            <p:cNvCxnSpPr>
              <a:cxnSpLocks/>
            </p:cNvCxnSpPr>
            <p:nvPr/>
          </p:nvCxnSpPr>
          <p:spPr>
            <a:xfrm>
              <a:off x="516047" y="4844298"/>
              <a:ext cx="9359427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10"/>
            <p:cNvCxnSpPr>
              <a:cxnSpLocks/>
            </p:cNvCxnSpPr>
            <p:nvPr/>
          </p:nvCxnSpPr>
          <p:spPr>
            <a:xfrm>
              <a:off x="516047" y="5749183"/>
              <a:ext cx="9359306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0">
              <a:extLst>
                <a:ext uri="{FF2B5EF4-FFF2-40B4-BE49-F238E27FC236}">
                  <a16:creationId xmlns:a16="http://schemas.microsoft.com/office/drawing/2014/main" id="{A5D54EFA-37DA-35CE-FB98-264A187C4969}"/>
                </a:ext>
              </a:extLst>
            </p:cNvPr>
            <p:cNvCxnSpPr>
              <a:cxnSpLocks/>
            </p:cNvCxnSpPr>
            <p:nvPr/>
          </p:nvCxnSpPr>
          <p:spPr>
            <a:xfrm>
              <a:off x="516047" y="3486970"/>
              <a:ext cx="9359306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10">
              <a:extLst>
                <a:ext uri="{FF2B5EF4-FFF2-40B4-BE49-F238E27FC236}">
                  <a16:creationId xmlns:a16="http://schemas.microsoft.com/office/drawing/2014/main" id="{050D35E1-93D5-A044-745A-795ECC81AD18}"/>
                </a:ext>
              </a:extLst>
            </p:cNvPr>
            <p:cNvCxnSpPr>
              <a:cxnSpLocks/>
            </p:cNvCxnSpPr>
            <p:nvPr/>
          </p:nvCxnSpPr>
          <p:spPr>
            <a:xfrm>
              <a:off x="516047" y="5296741"/>
              <a:ext cx="9359427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0321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45"/>
          <p:cNvSpPr txBox="1"/>
          <p:nvPr/>
        </p:nvSpPr>
        <p:spPr>
          <a:xfrm>
            <a:off x="355739" y="2260317"/>
            <a:ext cx="9639082" cy="4785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rtl="0" eaLnBrk="1" fontAlgn="t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сероссийский конкурс «Учитель здоровья России – 2022      1 участник</a:t>
            </a:r>
          </a:p>
          <a:p>
            <a:pPr marL="171450" indent="-171450" rtl="0" eaLnBrk="1" fontAlgn="t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оспитатель года 2022    1 участник</a:t>
            </a:r>
          </a:p>
          <a:p>
            <a:pPr marL="171450" indent="-171450" rtl="0" eaLnBrk="1" fontAlgn="t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й этап Московского областного конкурса «Воспитать человека» 2023   1 участник</a:t>
            </a:r>
          </a:p>
          <a:p>
            <a:pPr marL="171450" indent="-171450" rtl="0" eaLnBrk="1" fontAlgn="t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осковский областной конкурс «Лучшая трудовая династия» 1 участник</a:t>
            </a:r>
          </a:p>
          <a:p>
            <a:pPr marL="171450" indent="-171450" rtl="0" eaLnBrk="1" fontAlgn="t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сероссийский фестиваль "Праздник </a:t>
            </a:r>
            <a:r>
              <a:rPr lang="ru-RU" sz="1600" i="0" u="none" strike="noStrike" kern="1200" dirty="0" err="1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эколят</a:t>
            </a: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- молодых защитников природы" 1 участник</a:t>
            </a:r>
          </a:p>
          <a:p>
            <a:pPr marL="171450" indent="-171450" rtl="0" eaLnBrk="1" fontAlgn="t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ый областной детский конкурс "</a:t>
            </a:r>
            <a:r>
              <a:rPr lang="ru-RU" sz="1600" i="0" u="none" strike="noStrike" kern="1200" dirty="0" err="1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Экоподмосковье</a:t>
            </a: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РФ 2022»      1 участник</a:t>
            </a:r>
          </a:p>
          <a:p>
            <a:pPr marL="171450" indent="-171450" rtl="0" eaLnBrk="1" fontAlgn="t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сероссийский конкурс "Лучший педагог по обучению основам безопасного поведения на дорогах» 1 участник </a:t>
            </a:r>
          </a:p>
          <a:p>
            <a:pPr marL="171450" indent="-171450" rtl="0" eaLnBrk="1" fontAlgn="t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сероссийский конкурс на лучший «Снежный городок </a:t>
            </a:r>
            <a:r>
              <a:rPr lang="ru-RU" sz="1600" i="0" u="none" strike="noStrike" kern="1200" dirty="0" err="1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Эколят</a:t>
            </a: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2023» 1 участник</a:t>
            </a:r>
          </a:p>
          <a:p>
            <a:pPr rtl="0" eaLnBrk="1" fontAlgn="t" latinLnBrk="0" hangingPunct="1">
              <a:spcBef>
                <a:spcPts val="1200"/>
              </a:spcBef>
              <a:spcAft>
                <a:spcPts val="600"/>
              </a:spcAft>
              <a:tabLst>
                <a:tab pos="6816725" algn="l"/>
              </a:tabLst>
            </a:pPr>
            <a:r>
              <a:rPr lang="ru-RU" sz="1600" i="0" u="none" strike="noStrike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endParaRPr lang="ru-RU" sz="1600" i="0" u="none" strike="noStrike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rtl="0" eaLnBrk="1" fontAlgn="t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816725" algn="l"/>
              </a:tabLst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70" y="667494"/>
            <a:ext cx="717127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мпиады и конкурсы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934142" y="1162837"/>
            <a:ext cx="81425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pc="600" dirty="0">
                <a:latin typeface="Arial"/>
                <a:cs typeface="Arial"/>
              </a:rPr>
              <a:t>Всероссийский и региональный уровни</a:t>
            </a:r>
            <a:endParaRPr lang="ru-RU" dirty="0"/>
          </a:p>
        </p:txBody>
      </p:sp>
      <p:grpSp>
        <p:nvGrpSpPr>
          <p:cNvPr id="24" name="Группа 23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7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Рисунок 27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grpSp>
        <p:nvGrpSpPr>
          <p:cNvPr id="8" name="Группа 7"/>
          <p:cNvGrpSpPr/>
          <p:nvPr/>
        </p:nvGrpSpPr>
        <p:grpSpPr>
          <a:xfrm>
            <a:off x="516047" y="2204720"/>
            <a:ext cx="9359427" cy="3544463"/>
            <a:chOff x="516047" y="2582085"/>
            <a:chExt cx="9359427" cy="3167098"/>
          </a:xfrm>
        </p:grpSpPr>
        <p:cxnSp>
          <p:nvCxnSpPr>
            <p:cNvPr id="34" name="Straight Connector 10">
              <a:extLst>
                <a:ext uri="{FF2B5EF4-FFF2-40B4-BE49-F238E27FC236}">
                  <a16:creationId xmlns:a16="http://schemas.microsoft.com/office/drawing/2014/main" id="{CEF4905C-4FC0-47AF-34A4-FAB14C7F8064}"/>
                </a:ext>
              </a:extLst>
            </p:cNvPr>
            <p:cNvCxnSpPr>
              <a:cxnSpLocks/>
            </p:cNvCxnSpPr>
            <p:nvPr/>
          </p:nvCxnSpPr>
          <p:spPr>
            <a:xfrm>
              <a:off x="516047" y="2582085"/>
              <a:ext cx="9359306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0"/>
            <p:cNvCxnSpPr>
              <a:cxnSpLocks/>
            </p:cNvCxnSpPr>
            <p:nvPr/>
          </p:nvCxnSpPr>
          <p:spPr>
            <a:xfrm>
              <a:off x="516047" y="3939413"/>
              <a:ext cx="9359427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0"/>
            <p:cNvCxnSpPr>
              <a:cxnSpLocks/>
            </p:cNvCxnSpPr>
            <p:nvPr/>
          </p:nvCxnSpPr>
          <p:spPr>
            <a:xfrm>
              <a:off x="516047" y="3034528"/>
              <a:ext cx="9359306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0"/>
            <p:cNvCxnSpPr>
              <a:cxnSpLocks/>
            </p:cNvCxnSpPr>
            <p:nvPr/>
          </p:nvCxnSpPr>
          <p:spPr>
            <a:xfrm>
              <a:off x="516047" y="4391856"/>
              <a:ext cx="9359306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10"/>
            <p:cNvCxnSpPr>
              <a:cxnSpLocks/>
            </p:cNvCxnSpPr>
            <p:nvPr/>
          </p:nvCxnSpPr>
          <p:spPr>
            <a:xfrm>
              <a:off x="516047" y="4844298"/>
              <a:ext cx="9359427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10"/>
            <p:cNvCxnSpPr>
              <a:cxnSpLocks/>
            </p:cNvCxnSpPr>
            <p:nvPr/>
          </p:nvCxnSpPr>
          <p:spPr>
            <a:xfrm>
              <a:off x="516047" y="5749183"/>
              <a:ext cx="9359306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0">
              <a:extLst>
                <a:ext uri="{FF2B5EF4-FFF2-40B4-BE49-F238E27FC236}">
                  <a16:creationId xmlns:a16="http://schemas.microsoft.com/office/drawing/2014/main" id="{A5D54EFA-37DA-35CE-FB98-264A187C4969}"/>
                </a:ext>
              </a:extLst>
            </p:cNvPr>
            <p:cNvCxnSpPr>
              <a:cxnSpLocks/>
            </p:cNvCxnSpPr>
            <p:nvPr/>
          </p:nvCxnSpPr>
          <p:spPr>
            <a:xfrm>
              <a:off x="516047" y="3486970"/>
              <a:ext cx="9359306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10">
              <a:extLst>
                <a:ext uri="{FF2B5EF4-FFF2-40B4-BE49-F238E27FC236}">
                  <a16:creationId xmlns:a16="http://schemas.microsoft.com/office/drawing/2014/main" id="{050D35E1-93D5-A044-745A-795ECC81AD18}"/>
                </a:ext>
              </a:extLst>
            </p:cNvPr>
            <p:cNvCxnSpPr>
              <a:cxnSpLocks/>
            </p:cNvCxnSpPr>
            <p:nvPr/>
          </p:nvCxnSpPr>
          <p:spPr>
            <a:xfrm>
              <a:off x="516047" y="5296741"/>
              <a:ext cx="9359427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03334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70" y="667494"/>
            <a:ext cx="88190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льное обучение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451864" y="2858722"/>
            <a:ext cx="3459191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2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2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чащихся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400" spc="6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spc="6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ль обучения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8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-экономический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ка, экономика, право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8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472530" y="2152444"/>
            <a:ext cx="24343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4481513" algn="l"/>
                <a:tab pos="8610600" algn="l"/>
              </a:tabLst>
            </a:pPr>
            <a:r>
              <a:rPr lang="ru-RU" sz="3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классы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10">
            <a:extLst>
              <a:ext uri="{FF2B5EF4-FFF2-40B4-BE49-F238E27FC236}">
                <a16:creationId xmlns:a16="http://schemas.microsoft.com/office/drawing/2014/main" id="{1747699C-E304-4FED-AA05-CD6247CAEBBE}"/>
              </a:ext>
            </a:extLst>
          </p:cNvPr>
          <p:cNvSpPr/>
          <p:nvPr/>
        </p:nvSpPr>
        <p:spPr>
          <a:xfrm>
            <a:off x="1528317" y="3916523"/>
            <a:ext cx="3465240" cy="63843"/>
          </a:xfrm>
          <a:prstGeom prst="rect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717845" y="2858722"/>
            <a:ext cx="3565054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2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ласс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2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чащихся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400" spc="6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spc="6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ль обучения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8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-экономический</a:t>
            </a:r>
            <a:endParaRPr lang="ru-RU" sz="16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ка, экономика, право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8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659977" y="2152444"/>
            <a:ext cx="2532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4481513" algn="l"/>
                <a:tab pos="8610600" algn="l"/>
              </a:tabLst>
            </a:pPr>
            <a:r>
              <a:rPr lang="ru-RU" sz="3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классы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1060687" y="2230312"/>
            <a:ext cx="414082" cy="414082"/>
            <a:chOff x="6173658" y="2438672"/>
            <a:chExt cx="457200" cy="457200"/>
          </a:xfrm>
        </p:grpSpPr>
        <p:sp>
          <p:nvSpPr>
            <p:cNvPr id="35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3" name="Rectangle 10">
            <a:extLst>
              <a:ext uri="{FF2B5EF4-FFF2-40B4-BE49-F238E27FC236}">
                <a16:creationId xmlns:a16="http://schemas.microsoft.com/office/drawing/2014/main" id="{1747699C-E304-4FED-AA05-CD6247CAEBBE}"/>
              </a:ext>
            </a:extLst>
          </p:cNvPr>
          <p:cNvSpPr/>
          <p:nvPr/>
        </p:nvSpPr>
        <p:spPr>
          <a:xfrm>
            <a:off x="5800347" y="3916523"/>
            <a:ext cx="3465240" cy="63843"/>
          </a:xfrm>
          <a:prstGeom prst="rect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E93411-BD81-7D9D-D53F-A47F937C5729}"/>
              </a:ext>
            </a:extLst>
          </p:cNvPr>
          <p:cNvSpPr txBox="1"/>
          <p:nvPr/>
        </p:nvSpPr>
        <p:spPr>
          <a:xfrm>
            <a:off x="1681217" y="1272227"/>
            <a:ext cx="822163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1400" spc="3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упление в Вузы технической направленности – </a:t>
            </a:r>
            <a:r>
              <a:rPr lang="ru-RU" sz="2000" spc="3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70% 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49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Рисунок 49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51" name="Рисунок 50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grpSp>
        <p:nvGrpSpPr>
          <p:cNvPr id="52" name="Группа 51"/>
          <p:cNvGrpSpPr/>
          <p:nvPr/>
        </p:nvGrpSpPr>
        <p:grpSpPr>
          <a:xfrm>
            <a:off x="5245868" y="2230312"/>
            <a:ext cx="414082" cy="414082"/>
            <a:chOff x="6173658" y="2438672"/>
            <a:chExt cx="457200" cy="457200"/>
          </a:xfrm>
        </p:grpSpPr>
        <p:sp>
          <p:nvSpPr>
            <p:cNvPr id="53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22025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-22594" y="-24402"/>
            <a:ext cx="10308710" cy="6906804"/>
          </a:xfrm>
          <a:prstGeom prst="rect">
            <a:avLst/>
          </a:prstGeom>
          <a:gradFill flip="none" rotWithShape="1">
            <a:gsLst>
              <a:gs pos="0">
                <a:srgbClr val="0D5EA0">
                  <a:shade val="30000"/>
                  <a:satMod val="115000"/>
                </a:srgbClr>
              </a:gs>
              <a:gs pos="50000">
                <a:srgbClr val="0D5EA0">
                  <a:shade val="67500"/>
                  <a:satMod val="115000"/>
                </a:srgbClr>
              </a:gs>
              <a:gs pos="79000">
                <a:srgbClr val="0D5EA0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49" y="-24402"/>
            <a:ext cx="10321531" cy="7741148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  <p:sp>
        <p:nvSpPr>
          <p:cNvPr id="14" name="Прямоугольник 13"/>
          <p:cNvSpPr/>
          <p:nvPr/>
        </p:nvSpPr>
        <p:spPr>
          <a:xfrm>
            <a:off x="-14449" y="-4544839"/>
            <a:ext cx="10292421" cy="4462145"/>
          </a:xfrm>
          <a:prstGeom prst="rect">
            <a:avLst/>
          </a:prstGeom>
          <a:gradFill flip="none" rotWithShape="1">
            <a:gsLst>
              <a:gs pos="0">
                <a:srgbClr val="D33DCC">
                  <a:shade val="30000"/>
                  <a:satMod val="115000"/>
                </a:srgbClr>
              </a:gs>
              <a:gs pos="47000">
                <a:srgbClr val="D33DCC">
                  <a:shade val="67500"/>
                  <a:satMod val="115000"/>
                </a:srgbClr>
              </a:gs>
              <a:gs pos="79000">
                <a:srgbClr val="D33DCC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reflection stA="93000" endPos="65000" dist="50800" dir="5400000" sy="-100000" algn="bl" rotWithShape="0"/>
            <a:softEdge rad="0"/>
          </a:effectLst>
          <a:scene3d>
            <a:camera prst="orthographicFront">
              <a:rot lat="0" lon="21599994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Rectangle 26">
            <a:extLst>
              <a:ext uri="{FF2B5EF4-FFF2-40B4-BE49-F238E27FC236}">
                <a16:creationId xmlns:a16="http://schemas.microsoft.com/office/drawing/2014/main" id="{E24B7E4D-F68D-4A02-B9A8-46959FBD33AD}"/>
              </a:ext>
            </a:extLst>
          </p:cNvPr>
          <p:cNvSpPr/>
          <p:nvPr/>
        </p:nvSpPr>
        <p:spPr>
          <a:xfrm>
            <a:off x="34141" y="1108571"/>
            <a:ext cx="10299446" cy="47151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Рисунок 20">
            <a:extLst>
              <a:ext uri="{FF2B5EF4-FFF2-40B4-BE49-F238E27FC236}">
                <a16:creationId xmlns:a16="http://schemas.microsoft.com/office/drawing/2014/main" id="{8AD8D691-4492-21DC-BA59-0B1A9D23D23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56"/>
          <a:stretch>
            <a:fillRect/>
          </a:stretch>
        </p:blipFill>
        <p:spPr bwMode="auto">
          <a:xfrm>
            <a:off x="16363" y="5068523"/>
            <a:ext cx="4674273" cy="336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F:\путин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14449" y="1111274"/>
            <a:ext cx="7637364" cy="4712415"/>
          </a:xfrm>
          <a:prstGeom prst="rect">
            <a:avLst/>
          </a:prstGeom>
          <a:noFill/>
        </p:spPr>
      </p:pic>
      <p:pic>
        <p:nvPicPr>
          <p:cNvPr id="26" name="Рисунок 20">
            <a:extLst>
              <a:ext uri="{FF2B5EF4-FFF2-40B4-BE49-F238E27FC236}">
                <a16:creationId xmlns:a16="http://schemas.microsoft.com/office/drawing/2014/main" id="{8AD8D691-4492-21DC-BA59-0B1A9D23D23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56"/>
          <a:stretch>
            <a:fillRect/>
          </a:stretch>
        </p:blipFill>
        <p:spPr bwMode="auto">
          <a:xfrm>
            <a:off x="34141" y="5637583"/>
            <a:ext cx="4674273" cy="336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7756360" y="1647829"/>
            <a:ext cx="2400960" cy="36317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dirty="0">
                <a:latin typeface="Arial" pitchFamily="34" charset="0"/>
                <a:cs typeface="Arial" pitchFamily="34" charset="0"/>
              </a:rPr>
              <a:t>Владимир Владимирович</a:t>
            </a:r>
          </a:p>
          <a:p>
            <a:r>
              <a:rPr lang="ru-RU" sz="2000" dirty="0">
                <a:latin typeface="Arial" pitchFamily="34" charset="0"/>
                <a:cs typeface="Arial" pitchFamily="34" charset="0"/>
              </a:rPr>
              <a:t>Путин: </a:t>
            </a:r>
          </a:p>
          <a:p>
            <a:endParaRPr lang="ru-RU" sz="1600" dirty="0">
              <a:latin typeface="Arial" pitchFamily="34" charset="0"/>
              <a:cs typeface="Arial" pitchFamily="34" charset="0"/>
            </a:endParaRPr>
          </a:p>
          <a:p>
            <a:r>
              <a:rPr lang="ru-RU" sz="1600" dirty="0">
                <a:latin typeface="Arial" pitchFamily="34" charset="0"/>
                <a:cs typeface="Arial" pitchFamily="34" charset="0"/>
              </a:rPr>
              <a:t>«Успешное будущее</a:t>
            </a:r>
          </a:p>
          <a:p>
            <a:r>
              <a:rPr lang="ru-RU" sz="1600" dirty="0">
                <a:latin typeface="Arial" pitchFamily="34" charset="0"/>
                <a:cs typeface="Arial" pitchFamily="34" charset="0"/>
              </a:rPr>
              <a:t>человека зависит</a:t>
            </a:r>
          </a:p>
          <a:p>
            <a:r>
              <a:rPr lang="ru-RU" sz="1600" dirty="0">
                <a:latin typeface="Arial" pitchFamily="34" charset="0"/>
                <a:cs typeface="Arial" pitchFamily="34" charset="0"/>
              </a:rPr>
              <a:t>от качественного образования</a:t>
            </a:r>
          </a:p>
          <a:p>
            <a:r>
              <a:rPr lang="ru-RU" sz="1600" dirty="0">
                <a:latin typeface="Arial" pitchFamily="34" charset="0"/>
                <a:cs typeface="Arial" pitchFamily="34" charset="0"/>
              </a:rPr>
              <a:t>и разностороннего развития. Такие возможности нужно обеспечить повсеместно, в любом регионе нашей страны».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3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Рисунок 29"/>
            <p:cNvPicPr>
              <a:picLocks noChangeAspect="1"/>
            </p:cNvPicPr>
            <p:nvPr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4" name="Рисунок 33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91052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70" y="667494"/>
            <a:ext cx="717127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ЕГЭ-2022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2510660" y="1175211"/>
            <a:ext cx="63227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pc="600" dirty="0">
                <a:latin typeface="Arial"/>
                <a:cs typeface="Arial"/>
              </a:rPr>
              <a:t>динамика среднего балла ЕГЭ</a:t>
            </a:r>
            <a:endParaRPr lang="ru-RU" dirty="0"/>
          </a:p>
        </p:txBody>
      </p:sp>
      <p:graphicFrame>
        <p:nvGraphicFramePr>
          <p:cNvPr id="21" name="Таблица 10">
            <a:extLst>
              <a:ext uri="{FF2B5EF4-FFF2-40B4-BE49-F238E27FC236}">
                <a16:creationId xmlns:a16="http://schemas.microsoft.com/office/drawing/2014/main" id="{9E92EB81-DE03-4F30-A4C2-2701E5CBA8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9800595"/>
              </p:ext>
            </p:extLst>
          </p:nvPr>
        </p:nvGraphicFramePr>
        <p:xfrm>
          <a:off x="760492" y="2011902"/>
          <a:ext cx="8627951" cy="3859742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88933">
                  <a:extLst>
                    <a:ext uri="{9D8B030D-6E8A-4147-A177-3AD203B41FA5}">
                      <a16:colId xmlns:a16="http://schemas.microsoft.com/office/drawing/2014/main" val="1060721299"/>
                    </a:ext>
                  </a:extLst>
                </a:gridCol>
                <a:gridCol w="2553030">
                  <a:extLst>
                    <a:ext uri="{9D8B030D-6E8A-4147-A177-3AD203B41FA5}">
                      <a16:colId xmlns:a16="http://schemas.microsoft.com/office/drawing/2014/main" val="3730294796"/>
                    </a:ext>
                  </a:extLst>
                </a:gridCol>
                <a:gridCol w="1861996">
                  <a:extLst>
                    <a:ext uri="{9D8B030D-6E8A-4147-A177-3AD203B41FA5}">
                      <a16:colId xmlns:a16="http://schemas.microsoft.com/office/drawing/2014/main" val="2835790685"/>
                    </a:ext>
                  </a:extLst>
                </a:gridCol>
                <a:gridCol w="1861996">
                  <a:extLst>
                    <a:ext uri="{9D8B030D-6E8A-4147-A177-3AD203B41FA5}">
                      <a16:colId xmlns:a16="http://schemas.microsoft.com/office/drawing/2014/main" val="3241802405"/>
                    </a:ext>
                  </a:extLst>
                </a:gridCol>
                <a:gridCol w="18619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88657">
                <a:tc>
                  <a:txBody>
                    <a:bodyPr/>
                    <a:lstStyle/>
                    <a:p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ебный предмет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</a:t>
                      </a:r>
                      <a:r>
                        <a:rPr lang="ru-RU" sz="16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реждение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ниципалитет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я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4826020"/>
                  </a:ext>
                </a:extLst>
              </a:tr>
              <a:tr h="361601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сский язык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  <a:endParaRPr lang="ru-RU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,7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3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5992689"/>
                  </a:ext>
                </a:extLst>
              </a:tr>
              <a:tr h="361601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тература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,3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,8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2202935"/>
                  </a:ext>
                </a:extLst>
              </a:tr>
              <a:tr h="361601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тематика (профиль)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6</a:t>
                      </a: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,9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,9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1803528"/>
                  </a:ext>
                </a:extLst>
              </a:tr>
              <a:tr h="361601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форматика и ИКТ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,5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,5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94233698"/>
                  </a:ext>
                </a:extLst>
              </a:tr>
              <a:tr h="361601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зика 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</a:t>
                      </a: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,4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,1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73468" marR="73468" marT="36734" marB="3673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0167924"/>
                  </a:ext>
                </a:extLst>
              </a:tr>
              <a:tr h="361601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иология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,7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2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90346"/>
                  </a:ext>
                </a:extLst>
              </a:tr>
              <a:tr h="361601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тория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,9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5156470"/>
                  </a:ext>
                </a:extLst>
              </a:tr>
              <a:tr h="361601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ествознание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,5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,8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6642773"/>
                  </a:ext>
                </a:extLst>
              </a:tr>
              <a:tr h="361601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2921" marR="102921" marT="51460" marB="514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глийский язык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</a:t>
                      </a: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,2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,3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6" marR="91436" marT="45725" marB="457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8833405"/>
                  </a:ext>
                </a:extLst>
              </a:tr>
            </a:tbl>
          </a:graphicData>
        </a:graphic>
      </p:graphicFrame>
      <p:grpSp>
        <p:nvGrpSpPr>
          <p:cNvPr id="17" name="Группа 16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7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Рисунок 27"/>
            <p:cNvPicPr>
              <a:picLocks noChangeAspect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cxnSp>
        <p:nvCxnSpPr>
          <p:cNvPr id="30" name="Straight Connector 10">
            <a:extLst>
              <a:ext uri="{FF2B5EF4-FFF2-40B4-BE49-F238E27FC236}">
                <a16:creationId xmlns:a16="http://schemas.microsoft.com/office/drawing/2014/main" id="{CEF4905C-4FC0-47AF-34A4-FAB14C7F8064}"/>
              </a:ext>
            </a:extLst>
          </p:cNvPr>
          <p:cNvCxnSpPr>
            <a:cxnSpLocks/>
          </p:cNvCxnSpPr>
          <p:nvPr/>
        </p:nvCxnSpPr>
        <p:spPr>
          <a:xfrm>
            <a:off x="1321806" y="2946620"/>
            <a:ext cx="7078783" cy="0"/>
          </a:xfrm>
          <a:prstGeom prst="line">
            <a:avLst/>
          </a:prstGeom>
          <a:ln w="12700">
            <a:solidFill>
              <a:schemeClr val="accent1">
                <a:lumMod val="50000"/>
                <a:alpha val="48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10">
            <a:extLst>
              <a:ext uri="{FF2B5EF4-FFF2-40B4-BE49-F238E27FC236}">
                <a16:creationId xmlns:a16="http://schemas.microsoft.com/office/drawing/2014/main" id="{CEF4905C-4FC0-47AF-34A4-FAB14C7F8064}"/>
              </a:ext>
            </a:extLst>
          </p:cNvPr>
          <p:cNvCxnSpPr>
            <a:cxnSpLocks/>
          </p:cNvCxnSpPr>
          <p:nvPr/>
        </p:nvCxnSpPr>
        <p:spPr>
          <a:xfrm>
            <a:off x="1321806" y="3314228"/>
            <a:ext cx="7078783" cy="0"/>
          </a:xfrm>
          <a:prstGeom prst="line">
            <a:avLst/>
          </a:prstGeom>
          <a:ln w="12700">
            <a:solidFill>
              <a:schemeClr val="accent1">
                <a:lumMod val="50000"/>
                <a:alpha val="48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10">
            <a:extLst>
              <a:ext uri="{FF2B5EF4-FFF2-40B4-BE49-F238E27FC236}">
                <a16:creationId xmlns:a16="http://schemas.microsoft.com/office/drawing/2014/main" id="{CEF4905C-4FC0-47AF-34A4-FAB14C7F8064}"/>
              </a:ext>
            </a:extLst>
          </p:cNvPr>
          <p:cNvCxnSpPr>
            <a:cxnSpLocks/>
          </p:cNvCxnSpPr>
          <p:nvPr/>
        </p:nvCxnSpPr>
        <p:spPr>
          <a:xfrm>
            <a:off x="1321806" y="3663730"/>
            <a:ext cx="7078783" cy="0"/>
          </a:xfrm>
          <a:prstGeom prst="line">
            <a:avLst/>
          </a:prstGeom>
          <a:ln w="12700">
            <a:solidFill>
              <a:schemeClr val="accent1">
                <a:lumMod val="50000"/>
                <a:alpha val="48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10">
            <a:extLst>
              <a:ext uri="{FF2B5EF4-FFF2-40B4-BE49-F238E27FC236}">
                <a16:creationId xmlns:a16="http://schemas.microsoft.com/office/drawing/2014/main" id="{CEF4905C-4FC0-47AF-34A4-FAB14C7F8064}"/>
              </a:ext>
            </a:extLst>
          </p:cNvPr>
          <p:cNvCxnSpPr>
            <a:cxnSpLocks/>
          </p:cNvCxnSpPr>
          <p:nvPr/>
        </p:nvCxnSpPr>
        <p:spPr>
          <a:xfrm>
            <a:off x="1321806" y="5887487"/>
            <a:ext cx="7078783" cy="0"/>
          </a:xfrm>
          <a:prstGeom prst="line">
            <a:avLst/>
          </a:prstGeom>
          <a:ln w="12700">
            <a:solidFill>
              <a:schemeClr val="accent1">
                <a:lumMod val="50000"/>
                <a:alpha val="48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10">
            <a:extLst>
              <a:ext uri="{FF2B5EF4-FFF2-40B4-BE49-F238E27FC236}">
                <a16:creationId xmlns:a16="http://schemas.microsoft.com/office/drawing/2014/main" id="{CEF4905C-4FC0-47AF-34A4-FAB14C7F8064}"/>
              </a:ext>
            </a:extLst>
          </p:cNvPr>
          <p:cNvCxnSpPr>
            <a:cxnSpLocks/>
          </p:cNvCxnSpPr>
          <p:nvPr/>
        </p:nvCxnSpPr>
        <p:spPr>
          <a:xfrm>
            <a:off x="1321806" y="4058497"/>
            <a:ext cx="7078783" cy="0"/>
          </a:xfrm>
          <a:prstGeom prst="line">
            <a:avLst/>
          </a:prstGeom>
          <a:ln w="12700">
            <a:solidFill>
              <a:schemeClr val="accent1">
                <a:lumMod val="50000"/>
                <a:alpha val="48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10">
            <a:extLst>
              <a:ext uri="{FF2B5EF4-FFF2-40B4-BE49-F238E27FC236}">
                <a16:creationId xmlns:a16="http://schemas.microsoft.com/office/drawing/2014/main" id="{CEF4905C-4FC0-47AF-34A4-FAB14C7F8064}"/>
              </a:ext>
            </a:extLst>
          </p:cNvPr>
          <p:cNvCxnSpPr>
            <a:cxnSpLocks/>
          </p:cNvCxnSpPr>
          <p:nvPr/>
        </p:nvCxnSpPr>
        <p:spPr>
          <a:xfrm>
            <a:off x="1321806" y="4389893"/>
            <a:ext cx="7078783" cy="0"/>
          </a:xfrm>
          <a:prstGeom prst="line">
            <a:avLst/>
          </a:prstGeom>
          <a:ln w="12700">
            <a:solidFill>
              <a:schemeClr val="accent1">
                <a:lumMod val="50000"/>
                <a:alpha val="48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10">
            <a:extLst>
              <a:ext uri="{FF2B5EF4-FFF2-40B4-BE49-F238E27FC236}">
                <a16:creationId xmlns:a16="http://schemas.microsoft.com/office/drawing/2014/main" id="{CEF4905C-4FC0-47AF-34A4-FAB14C7F8064}"/>
              </a:ext>
            </a:extLst>
          </p:cNvPr>
          <p:cNvCxnSpPr>
            <a:cxnSpLocks/>
          </p:cNvCxnSpPr>
          <p:nvPr/>
        </p:nvCxnSpPr>
        <p:spPr>
          <a:xfrm>
            <a:off x="1321806" y="4784660"/>
            <a:ext cx="7078783" cy="0"/>
          </a:xfrm>
          <a:prstGeom prst="line">
            <a:avLst/>
          </a:prstGeom>
          <a:ln w="12700">
            <a:solidFill>
              <a:schemeClr val="accent1">
                <a:lumMod val="50000"/>
                <a:alpha val="48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10">
            <a:extLst>
              <a:ext uri="{FF2B5EF4-FFF2-40B4-BE49-F238E27FC236}">
                <a16:creationId xmlns:a16="http://schemas.microsoft.com/office/drawing/2014/main" id="{CEF4905C-4FC0-47AF-34A4-FAB14C7F8064}"/>
              </a:ext>
            </a:extLst>
          </p:cNvPr>
          <p:cNvCxnSpPr>
            <a:cxnSpLocks/>
          </p:cNvCxnSpPr>
          <p:nvPr/>
        </p:nvCxnSpPr>
        <p:spPr>
          <a:xfrm>
            <a:off x="1321806" y="5116056"/>
            <a:ext cx="7078783" cy="0"/>
          </a:xfrm>
          <a:prstGeom prst="line">
            <a:avLst/>
          </a:prstGeom>
          <a:ln w="12700">
            <a:solidFill>
              <a:schemeClr val="accent1">
                <a:lumMod val="50000"/>
                <a:alpha val="48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10">
            <a:extLst>
              <a:ext uri="{FF2B5EF4-FFF2-40B4-BE49-F238E27FC236}">
                <a16:creationId xmlns:a16="http://schemas.microsoft.com/office/drawing/2014/main" id="{CEF4905C-4FC0-47AF-34A4-FAB14C7F8064}"/>
              </a:ext>
            </a:extLst>
          </p:cNvPr>
          <p:cNvCxnSpPr>
            <a:cxnSpLocks/>
          </p:cNvCxnSpPr>
          <p:nvPr/>
        </p:nvCxnSpPr>
        <p:spPr>
          <a:xfrm>
            <a:off x="1321806" y="5510823"/>
            <a:ext cx="7078783" cy="0"/>
          </a:xfrm>
          <a:prstGeom prst="line">
            <a:avLst/>
          </a:prstGeom>
          <a:ln w="12700">
            <a:solidFill>
              <a:schemeClr val="accent1">
                <a:lumMod val="50000"/>
                <a:alpha val="48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862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973523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ЕГЭ-2022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2B0D78A-622F-4DE4-B7D0-7F4D92218FF2}"/>
              </a:ext>
            </a:extLst>
          </p:cNvPr>
          <p:cNvSpPr txBox="1"/>
          <p:nvPr/>
        </p:nvSpPr>
        <p:spPr>
          <a:xfrm>
            <a:off x="1585183" y="2362306"/>
            <a:ext cx="4674820" cy="677108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70-80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баллов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9CDADB1C-E660-4546-A0E6-35423D6AC0F0}"/>
              </a:ext>
            </a:extLst>
          </p:cNvPr>
          <p:cNvSpPr/>
          <p:nvPr/>
        </p:nvSpPr>
        <p:spPr>
          <a:xfrm>
            <a:off x="1585183" y="2988404"/>
            <a:ext cx="397241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30000"/>
              </a:lnSpc>
              <a:spcBef>
                <a:spcPts val="1200"/>
              </a:spcBef>
              <a:spcAft>
                <a:spcPts val="0"/>
              </a:spcAft>
              <a:buClr>
                <a:srgbClr val="27AB9E"/>
              </a:buClr>
              <a:buSzPct val="150000"/>
              <a:defRPr/>
            </a:pPr>
            <a:r>
              <a:rPr lang="ru-RU" sz="2000" spc="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11 учащихся</a:t>
            </a:r>
            <a:endParaRPr lang="en-US" sz="2000" spc="6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Lato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2B0D78A-622F-4DE4-B7D0-7F4D92218FF2}"/>
              </a:ext>
            </a:extLst>
          </p:cNvPr>
          <p:cNvSpPr txBox="1"/>
          <p:nvPr/>
        </p:nvSpPr>
        <p:spPr>
          <a:xfrm>
            <a:off x="5790230" y="2362306"/>
            <a:ext cx="3946022" cy="677108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>
              <a:defRPr/>
            </a:pPr>
            <a:r>
              <a:rPr lang="ru-RU" sz="4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81-99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баллов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12">
            <a:extLst>
              <a:ext uri="{FF2B5EF4-FFF2-40B4-BE49-F238E27FC236}">
                <a16:creationId xmlns:a16="http://schemas.microsoft.com/office/drawing/2014/main" id="{9CDADB1C-E660-4546-A0E6-35423D6AC0F0}"/>
              </a:ext>
            </a:extLst>
          </p:cNvPr>
          <p:cNvSpPr/>
          <p:nvPr/>
        </p:nvSpPr>
        <p:spPr>
          <a:xfrm>
            <a:off x="5790230" y="2988404"/>
            <a:ext cx="394602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spcBef>
                <a:spcPts val="1200"/>
              </a:spcBef>
              <a:buClr>
                <a:srgbClr val="27AB9E"/>
              </a:buClr>
              <a:buSzPct val="150000"/>
              <a:defRPr/>
            </a:pPr>
            <a:r>
              <a:rPr lang="ru-RU" sz="2000" spc="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8 учащихся</a:t>
            </a:r>
            <a:endParaRPr lang="en-US" sz="2000" spc="6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Lato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2B0D78A-622F-4DE4-B7D0-7F4D92218FF2}"/>
              </a:ext>
            </a:extLst>
          </p:cNvPr>
          <p:cNvSpPr txBox="1"/>
          <p:nvPr/>
        </p:nvSpPr>
        <p:spPr>
          <a:xfrm>
            <a:off x="1585183" y="4231394"/>
            <a:ext cx="4674820" cy="677108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220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баллов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12">
            <a:extLst>
              <a:ext uri="{FF2B5EF4-FFF2-40B4-BE49-F238E27FC236}">
                <a16:creationId xmlns:a16="http://schemas.microsoft.com/office/drawing/2014/main" id="{9CDADB1C-E660-4546-A0E6-35423D6AC0F0}"/>
              </a:ext>
            </a:extLst>
          </p:cNvPr>
          <p:cNvSpPr/>
          <p:nvPr/>
        </p:nvSpPr>
        <p:spPr>
          <a:xfrm>
            <a:off x="1585183" y="4887825"/>
            <a:ext cx="397241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30000"/>
              </a:lnSpc>
              <a:spcBef>
                <a:spcPts val="1200"/>
              </a:spcBef>
              <a:spcAft>
                <a:spcPts val="0"/>
              </a:spcAft>
              <a:buClr>
                <a:srgbClr val="27AB9E"/>
              </a:buClr>
              <a:buSzPct val="150000"/>
              <a:defRPr/>
            </a:pPr>
            <a:r>
              <a:rPr lang="ru-RU" sz="2000" spc="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7 учащихся</a:t>
            </a:r>
            <a:endParaRPr lang="en-US" sz="2000" spc="6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Lato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2B0D78A-622F-4DE4-B7D0-7F4D92218FF2}"/>
              </a:ext>
            </a:extLst>
          </p:cNvPr>
          <p:cNvSpPr txBox="1"/>
          <p:nvPr/>
        </p:nvSpPr>
        <p:spPr>
          <a:xfrm>
            <a:off x="5790230" y="4231394"/>
            <a:ext cx="3946022" cy="677108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>
              <a:defRPr/>
            </a:pPr>
            <a:r>
              <a:rPr lang="ru-RU" sz="4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250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баллов</a:t>
            </a: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12">
            <a:extLst>
              <a:ext uri="{FF2B5EF4-FFF2-40B4-BE49-F238E27FC236}">
                <a16:creationId xmlns:a16="http://schemas.microsoft.com/office/drawing/2014/main" id="{9CDADB1C-E660-4546-A0E6-35423D6AC0F0}"/>
              </a:ext>
            </a:extLst>
          </p:cNvPr>
          <p:cNvSpPr/>
          <p:nvPr/>
        </p:nvSpPr>
        <p:spPr>
          <a:xfrm>
            <a:off x="5790230" y="4887825"/>
            <a:ext cx="394602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spcBef>
                <a:spcPts val="1200"/>
              </a:spcBef>
              <a:buClr>
                <a:srgbClr val="27AB9E"/>
              </a:buClr>
              <a:buSzPct val="150000"/>
              <a:defRPr/>
            </a:pPr>
            <a:r>
              <a:rPr lang="ru-RU" sz="2000" spc="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3 учащихся</a:t>
            </a:r>
            <a:endParaRPr lang="en-US" sz="2000" spc="6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Lato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347116" y="4222170"/>
            <a:ext cx="16795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по 3-м предметам</a:t>
            </a:r>
            <a:endParaRPr lang="ru-RU" sz="1400" dirty="0"/>
          </a:p>
        </p:txBody>
      </p:sp>
      <p:sp>
        <p:nvSpPr>
          <p:cNvPr id="47" name="Прямоугольник 46"/>
          <p:cNvSpPr/>
          <p:nvPr/>
        </p:nvSpPr>
        <p:spPr>
          <a:xfrm>
            <a:off x="3146401" y="4222170"/>
            <a:ext cx="16795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по 3-м предметам</a:t>
            </a:r>
            <a:endParaRPr lang="ru-RU" sz="1400" dirty="0"/>
          </a:p>
        </p:txBody>
      </p:sp>
      <p:grpSp>
        <p:nvGrpSpPr>
          <p:cNvPr id="42" name="Группа 41"/>
          <p:cNvGrpSpPr/>
          <p:nvPr/>
        </p:nvGrpSpPr>
        <p:grpSpPr>
          <a:xfrm>
            <a:off x="1075225" y="2455836"/>
            <a:ext cx="465530" cy="465530"/>
            <a:chOff x="6173658" y="2438672"/>
            <a:chExt cx="457200" cy="457200"/>
          </a:xfrm>
        </p:grpSpPr>
        <p:sp>
          <p:nvSpPr>
            <p:cNvPr id="43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5" name="Группа 44"/>
          <p:cNvGrpSpPr/>
          <p:nvPr/>
        </p:nvGrpSpPr>
        <p:grpSpPr>
          <a:xfrm>
            <a:off x="1075225" y="4346909"/>
            <a:ext cx="465530" cy="465530"/>
            <a:chOff x="6173658" y="2438672"/>
            <a:chExt cx="457200" cy="457200"/>
          </a:xfrm>
        </p:grpSpPr>
        <p:sp>
          <p:nvSpPr>
            <p:cNvPr id="46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5262788" y="2455836"/>
            <a:ext cx="465530" cy="465530"/>
            <a:chOff x="6173658" y="2438672"/>
            <a:chExt cx="457200" cy="457200"/>
          </a:xfrm>
        </p:grpSpPr>
        <p:sp>
          <p:nvSpPr>
            <p:cNvPr id="50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5262788" y="4346909"/>
            <a:ext cx="465530" cy="465530"/>
            <a:chOff x="6173658" y="2438672"/>
            <a:chExt cx="457200" cy="457200"/>
          </a:xfrm>
        </p:grpSpPr>
        <p:sp>
          <p:nvSpPr>
            <p:cNvPr id="61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964949" y="3765314"/>
            <a:ext cx="8061729" cy="0"/>
          </a:xfrm>
          <a:prstGeom prst="line">
            <a:avLst/>
          </a:prstGeom>
          <a:ln>
            <a:solidFill>
              <a:srgbClr val="088A5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37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41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Рисунок 58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64" name="Рисунок 63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907425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Скругленный прямоугольник 43"/>
          <p:cNvSpPr/>
          <p:nvPr/>
        </p:nvSpPr>
        <p:spPr>
          <a:xfrm>
            <a:off x="2915061" y="2559608"/>
            <a:ext cx="2145672" cy="950592"/>
          </a:xfrm>
          <a:prstGeom prst="roundRect">
            <a:avLst>
              <a:gd name="adj" fmla="val 3190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973523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ускники: аттестаты, медали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 rot="16200000">
            <a:off x="2125964" y="2454197"/>
            <a:ext cx="357660" cy="357660"/>
            <a:chOff x="2862906" y="4174176"/>
            <a:chExt cx="526727" cy="526727"/>
          </a:xfrm>
        </p:grpSpPr>
        <p:sp>
          <p:nvSpPr>
            <p:cNvPr id="26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7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D2B0D78A-622F-4DE4-B7D0-7F4D92218FF2}"/>
              </a:ext>
            </a:extLst>
          </p:cNvPr>
          <p:cNvSpPr txBox="1"/>
          <p:nvPr/>
        </p:nvSpPr>
        <p:spPr>
          <a:xfrm>
            <a:off x="2569197" y="2403954"/>
            <a:ext cx="3609133" cy="1477328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>
              <a:defRPr/>
            </a:pPr>
            <a:r>
              <a:rPr lang="ru-RU" sz="2800" b="1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5 учащихся</a:t>
            </a:r>
          </a:p>
          <a:p>
            <a:pPr>
              <a:defRPr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Аттестат с отличием (9 класс)</a:t>
            </a:r>
          </a:p>
          <a:p>
            <a:pPr>
              <a:defRPr/>
            </a:pPr>
            <a:endParaRPr lang="ru-RU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Lato" panose="020F0502020204030203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3200" b="1" dirty="0"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grpSp>
        <p:nvGrpSpPr>
          <p:cNvPr id="71" name="Группа 70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72" name="Прямоугольник 71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74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Рисунок 74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76" name="Рисунок 7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D2B0D78A-622F-4DE4-B7D0-7F4D92218FF2}"/>
              </a:ext>
            </a:extLst>
          </p:cNvPr>
          <p:cNvSpPr txBox="1"/>
          <p:nvPr/>
        </p:nvSpPr>
        <p:spPr>
          <a:xfrm>
            <a:off x="6903770" y="2403954"/>
            <a:ext cx="2971705" cy="984885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>
              <a:defRPr/>
            </a:pPr>
            <a:r>
              <a:rPr lang="ru-RU" sz="2800" b="1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6 учащихся</a:t>
            </a:r>
          </a:p>
          <a:p>
            <a:pPr>
              <a:defRPr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Медаль (11 класс)</a:t>
            </a:r>
          </a:p>
          <a:p>
            <a:pPr>
              <a:defRPr/>
            </a:pPr>
            <a:endParaRPr lang="ru-RU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Lato" panose="020F0502020204030203" pitchFamily="34" charset="0"/>
              <a:cs typeface="Arial" panose="020B0604020202020204" pitchFamily="34" charset="0"/>
            </a:endParaRPr>
          </a:p>
        </p:txBody>
      </p:sp>
      <p:grpSp>
        <p:nvGrpSpPr>
          <p:cNvPr id="84" name="Группа 83"/>
          <p:cNvGrpSpPr/>
          <p:nvPr/>
        </p:nvGrpSpPr>
        <p:grpSpPr>
          <a:xfrm rot="16200000">
            <a:off x="6457249" y="2454197"/>
            <a:ext cx="357660" cy="357660"/>
            <a:chOff x="2862906" y="4174176"/>
            <a:chExt cx="526727" cy="526727"/>
          </a:xfrm>
        </p:grpSpPr>
        <p:sp>
          <p:nvSpPr>
            <p:cNvPr id="85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86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324241" y="2299155"/>
            <a:ext cx="174311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МАОУ Краснопутьская СОШ</a:t>
            </a:r>
          </a:p>
        </p:txBody>
      </p:sp>
      <p:cxnSp>
        <p:nvCxnSpPr>
          <p:cNvPr id="95" name="Прямая соединительная линия 94"/>
          <p:cNvCxnSpPr/>
          <p:nvPr/>
        </p:nvCxnSpPr>
        <p:spPr>
          <a:xfrm>
            <a:off x="772935" y="3227009"/>
            <a:ext cx="8287693" cy="0"/>
          </a:xfrm>
          <a:prstGeom prst="line">
            <a:avLst/>
          </a:prstGeom>
          <a:ln>
            <a:solidFill>
              <a:srgbClr val="088A5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1962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973523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новационная деятельность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194F2DB-6C84-17FF-0E5C-E1DCD3BA2494}"/>
              </a:ext>
            </a:extLst>
          </p:cNvPr>
          <p:cNvSpPr txBox="1"/>
          <p:nvPr/>
        </p:nvSpPr>
        <p:spPr>
          <a:xfrm>
            <a:off x="2334161" y="1875190"/>
            <a:ext cx="7009015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t">
              <a:spcBef>
                <a:spcPts val="1200"/>
              </a:spcBef>
              <a:spcAft>
                <a:spcPts val="1200"/>
              </a:spcAft>
              <a:tabLst>
                <a:tab pos="4751388" algn="l"/>
                <a:tab pos="7534275" algn="l"/>
              </a:tabLst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ый проект «Код будущего»</a:t>
            </a:r>
          </a:p>
          <a:p>
            <a:pPr lvl="0" fontAlgn="t">
              <a:spcBef>
                <a:spcPts val="1200"/>
              </a:spcBef>
              <a:spcAft>
                <a:spcPts val="1200"/>
              </a:spcAft>
              <a:tabLst>
                <a:tab pos="4751388" algn="l"/>
                <a:tab pos="7534275" algn="l"/>
              </a:tabLst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ая инновационная площадка «Организация деятельности детского сада с учетом требований ФГОС ДО», направление: «Программа методического сопровождения профориентационной работы с детьми дошкольного возраста «В мире профессий» </a:t>
            </a:r>
          </a:p>
          <a:p>
            <a:pPr fontAlgn="t">
              <a:spcBef>
                <a:spcPts val="1200"/>
              </a:spcBef>
              <a:spcAft>
                <a:spcPts val="1200"/>
              </a:spcAft>
              <a:tabLst>
                <a:tab pos="4751388" algn="l"/>
                <a:tab pos="7534275" algn="l"/>
              </a:tabLst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проект «Предпринимательский класс»</a:t>
            </a:r>
          </a:p>
        </p:txBody>
      </p:sp>
      <p:grpSp>
        <p:nvGrpSpPr>
          <p:cNvPr id="53" name="Группа 52"/>
          <p:cNvGrpSpPr/>
          <p:nvPr/>
        </p:nvGrpSpPr>
        <p:grpSpPr>
          <a:xfrm>
            <a:off x="1759908" y="1923713"/>
            <a:ext cx="377692" cy="377692"/>
            <a:chOff x="6173658" y="2438672"/>
            <a:chExt cx="457200" cy="457200"/>
          </a:xfrm>
        </p:grpSpPr>
        <p:sp>
          <p:nvSpPr>
            <p:cNvPr id="54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43" name="Прямоугольник 42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48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Рисунок 50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grpSp>
        <p:nvGrpSpPr>
          <p:cNvPr id="6" name="Группа 5"/>
          <p:cNvGrpSpPr/>
          <p:nvPr/>
        </p:nvGrpSpPr>
        <p:grpSpPr>
          <a:xfrm>
            <a:off x="2258617" y="1629492"/>
            <a:ext cx="6888675" cy="3265627"/>
            <a:chOff x="2327753" y="2466435"/>
            <a:chExt cx="7668718" cy="3265627"/>
          </a:xfrm>
        </p:grpSpPr>
        <p:cxnSp>
          <p:nvCxnSpPr>
            <p:cNvPr id="38" name="Straight Connector 10">
              <a:extLst>
                <a:ext uri="{FF2B5EF4-FFF2-40B4-BE49-F238E27FC236}">
                  <a16:creationId xmlns:a16="http://schemas.microsoft.com/office/drawing/2014/main" id="{CEF4905C-4FC0-47AF-34A4-FAB14C7F80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27753" y="3811509"/>
              <a:ext cx="7668718" cy="22826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10">
              <a:extLst>
                <a:ext uri="{FF2B5EF4-FFF2-40B4-BE49-F238E27FC236}">
                  <a16:creationId xmlns:a16="http://schemas.microsoft.com/office/drawing/2014/main" id="{CEF4905C-4FC0-47AF-34A4-FAB14C7F8064}"/>
                </a:ext>
              </a:extLst>
            </p:cNvPr>
            <p:cNvCxnSpPr>
              <a:cxnSpLocks/>
            </p:cNvCxnSpPr>
            <p:nvPr/>
          </p:nvCxnSpPr>
          <p:spPr>
            <a:xfrm>
              <a:off x="2327753" y="5160599"/>
              <a:ext cx="7629053" cy="37716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10">
              <a:extLst>
                <a:ext uri="{FF2B5EF4-FFF2-40B4-BE49-F238E27FC236}">
                  <a16:creationId xmlns:a16="http://schemas.microsoft.com/office/drawing/2014/main" id="{CEF4905C-4FC0-47AF-34A4-FAB14C7F8064}"/>
                </a:ext>
              </a:extLst>
            </p:cNvPr>
            <p:cNvCxnSpPr>
              <a:cxnSpLocks/>
            </p:cNvCxnSpPr>
            <p:nvPr/>
          </p:nvCxnSpPr>
          <p:spPr>
            <a:xfrm>
              <a:off x="2327753" y="5694346"/>
              <a:ext cx="7629053" cy="37716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10">
              <a:extLst>
                <a:ext uri="{FF2B5EF4-FFF2-40B4-BE49-F238E27FC236}">
                  <a16:creationId xmlns:a16="http://schemas.microsoft.com/office/drawing/2014/main" id="{CEF4905C-4FC0-47AF-34A4-FAB14C7F80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27753" y="3048627"/>
              <a:ext cx="7668718" cy="22826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10">
              <a:extLst>
                <a:ext uri="{FF2B5EF4-FFF2-40B4-BE49-F238E27FC236}">
                  <a16:creationId xmlns:a16="http://schemas.microsoft.com/office/drawing/2014/main" id="{CEF4905C-4FC0-47AF-34A4-FAB14C7F80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27753" y="2466435"/>
              <a:ext cx="7668718" cy="22826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Группа 62"/>
          <p:cNvGrpSpPr/>
          <p:nvPr/>
        </p:nvGrpSpPr>
        <p:grpSpPr>
          <a:xfrm>
            <a:off x="1759908" y="2581706"/>
            <a:ext cx="377692" cy="377692"/>
            <a:chOff x="6173658" y="2438672"/>
            <a:chExt cx="457200" cy="457200"/>
          </a:xfrm>
        </p:grpSpPr>
        <p:sp>
          <p:nvSpPr>
            <p:cNvPr id="64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1759908" y="3262306"/>
            <a:ext cx="377692" cy="377692"/>
            <a:chOff x="6173658" y="2438672"/>
            <a:chExt cx="457200" cy="457200"/>
          </a:xfrm>
        </p:grpSpPr>
        <p:sp>
          <p:nvSpPr>
            <p:cNvPr id="76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63141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790562" y="590579"/>
            <a:ext cx="85655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рудничество с вузами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val 6">
            <a:extLst>
              <a:ext uri="{FF2B5EF4-FFF2-40B4-BE49-F238E27FC236}">
                <a16:creationId xmlns:a16="http://schemas.microsoft.com/office/drawing/2014/main" id="{E088F68E-8464-C360-F00F-A34462710278}"/>
              </a:ext>
            </a:extLst>
          </p:cNvPr>
          <p:cNvSpPr/>
          <p:nvPr/>
        </p:nvSpPr>
        <p:spPr>
          <a:xfrm>
            <a:off x="3394823" y="1785297"/>
            <a:ext cx="3454400" cy="3454400"/>
          </a:xfrm>
          <a:prstGeom prst="ellipse">
            <a:avLst/>
          </a:prstGeom>
          <a:noFill/>
          <a:ln w="28575">
            <a:solidFill>
              <a:srgbClr val="066948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52A2C37-E26E-DD77-BEE2-1FC6859B1A23}"/>
              </a:ext>
            </a:extLst>
          </p:cNvPr>
          <p:cNvSpPr txBox="1"/>
          <p:nvPr/>
        </p:nvSpPr>
        <p:spPr>
          <a:xfrm>
            <a:off x="3636123" y="3204723"/>
            <a:ext cx="2971800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2000" spc="600" dirty="0">
                <a:latin typeface="Arial" panose="020B0604020202020204" pitchFamily="34" charset="0"/>
                <a:cs typeface="Arial" panose="020B0604020202020204" pitchFamily="34" charset="0"/>
              </a:rPr>
              <a:t>2022/2023</a:t>
            </a:r>
          </a:p>
          <a:p>
            <a:pPr algn="ctr"/>
            <a:r>
              <a:rPr lang="ru-RU" sz="2000" spc="600" dirty="0">
                <a:latin typeface="Arial" panose="020B0604020202020204" pitchFamily="34" charset="0"/>
                <a:cs typeface="Arial" panose="020B0604020202020204" pitchFamily="34" charset="0"/>
              </a:rPr>
              <a:t>учебный год</a:t>
            </a:r>
            <a:endParaRPr lang="en-US" sz="2000" spc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5BBD2A7-FA3E-F8A0-36F1-887FBE355A91}"/>
              </a:ext>
            </a:extLst>
          </p:cNvPr>
          <p:cNvSpPr txBox="1"/>
          <p:nvPr/>
        </p:nvSpPr>
        <p:spPr>
          <a:xfrm>
            <a:off x="7034409" y="2153258"/>
            <a:ext cx="3046968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sng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РХТУ </a:t>
            </a:r>
            <a:r>
              <a:rPr kumimoji="0" lang="ru-RU" sz="2800" b="0" i="0" u="sng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им.Д.И.Менделеева</a:t>
            </a:r>
            <a:endParaRPr kumimoji="0" lang="ru-RU" sz="2800" b="0" i="0" u="sng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AE7D153-5BB7-41C4-9057-7277EA0EF46E}"/>
              </a:ext>
            </a:extLst>
          </p:cNvPr>
          <p:cNvSpPr txBox="1"/>
          <p:nvPr/>
        </p:nvSpPr>
        <p:spPr>
          <a:xfrm>
            <a:off x="7034410" y="3822438"/>
            <a:ext cx="2841110" cy="15388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2000" u="sng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ГГУ</a:t>
            </a:r>
          </a:p>
          <a:p>
            <a:r>
              <a:rPr lang="ru-RU" sz="2000" u="sng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сийский</a:t>
            </a:r>
          </a:p>
          <a:p>
            <a:r>
              <a:rPr lang="ru-RU" sz="2000" u="sng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ый</a:t>
            </a:r>
          </a:p>
          <a:p>
            <a:r>
              <a:rPr lang="ru-RU" sz="2000" u="sng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уманитарный</a:t>
            </a:r>
          </a:p>
          <a:p>
            <a:r>
              <a:rPr lang="ru-RU" sz="2000" u="sng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иверситет </a:t>
            </a:r>
            <a:endParaRPr lang="en-US" sz="2000" u="sng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E16B5AA-F805-9CF0-EB12-BFBFD0757BA7}"/>
              </a:ext>
            </a:extLst>
          </p:cNvPr>
          <p:cNvSpPr txBox="1"/>
          <p:nvPr/>
        </p:nvSpPr>
        <p:spPr>
          <a:xfrm flipH="1">
            <a:off x="444456" y="1999370"/>
            <a:ext cx="2728150" cy="15388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 algn="r">
              <a:defRPr/>
            </a:pPr>
            <a:r>
              <a:rPr lang="ru-RU" sz="2000" u="sng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ФГОБУ ВО "Финансовый университет при Правительстве Российской Федерации"</a:t>
            </a:r>
            <a:endParaRPr lang="en-US" sz="20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6BC29021-47A2-2B67-E8C1-3A37201AE287}"/>
              </a:ext>
            </a:extLst>
          </p:cNvPr>
          <p:cNvSpPr txBox="1"/>
          <p:nvPr/>
        </p:nvSpPr>
        <p:spPr>
          <a:xfrm flipH="1">
            <a:off x="943275" y="3883993"/>
            <a:ext cx="2229331" cy="123110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ru-RU" sz="2000" u="sng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НОУ</a:t>
            </a:r>
          </a:p>
          <a:p>
            <a:pPr algn="r"/>
            <a:r>
              <a:rPr lang="ru-RU" sz="2000" u="sng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сийский</a:t>
            </a:r>
          </a:p>
          <a:p>
            <a:pPr algn="r"/>
            <a:r>
              <a:rPr lang="ru-RU" sz="2000" u="sng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вый</a:t>
            </a:r>
          </a:p>
          <a:p>
            <a:pPr algn="r"/>
            <a:r>
              <a:rPr lang="ru-RU" sz="2000" u="sng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иверситет</a:t>
            </a:r>
            <a:endParaRPr lang="en-US" sz="2000" u="sng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val 30">
            <a:extLst>
              <a:ext uri="{FF2B5EF4-FFF2-40B4-BE49-F238E27FC236}">
                <a16:creationId xmlns:a16="http://schemas.microsoft.com/office/drawing/2014/main" id="{92F8694F-8E02-9E65-1703-9FF05BCF1F18}"/>
              </a:ext>
            </a:extLst>
          </p:cNvPr>
          <p:cNvSpPr/>
          <p:nvPr/>
        </p:nvSpPr>
        <p:spPr>
          <a:xfrm>
            <a:off x="6391933" y="2433115"/>
            <a:ext cx="457200" cy="457200"/>
          </a:xfrm>
          <a:prstGeom prst="ellipse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Oval 31">
            <a:extLst>
              <a:ext uri="{FF2B5EF4-FFF2-40B4-BE49-F238E27FC236}">
                <a16:creationId xmlns:a16="http://schemas.microsoft.com/office/drawing/2014/main" id="{B21C1AF9-BE89-12D8-F120-A21BC0923E34}"/>
              </a:ext>
            </a:extLst>
          </p:cNvPr>
          <p:cNvSpPr/>
          <p:nvPr/>
        </p:nvSpPr>
        <p:spPr>
          <a:xfrm>
            <a:off x="6391933" y="4134679"/>
            <a:ext cx="457200" cy="457200"/>
          </a:xfrm>
          <a:prstGeom prst="ellipse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Oval 33">
            <a:extLst>
              <a:ext uri="{FF2B5EF4-FFF2-40B4-BE49-F238E27FC236}">
                <a16:creationId xmlns:a16="http://schemas.microsoft.com/office/drawing/2014/main" id="{2947F27E-1A62-6C3D-082C-3B5462EF0BB4}"/>
              </a:ext>
            </a:extLst>
          </p:cNvPr>
          <p:cNvSpPr/>
          <p:nvPr/>
        </p:nvSpPr>
        <p:spPr>
          <a:xfrm>
            <a:off x="3394913" y="4134679"/>
            <a:ext cx="457200" cy="457200"/>
          </a:xfrm>
          <a:prstGeom prst="ellipse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Freeform 931">
            <a:extLst>
              <a:ext uri="{FF2B5EF4-FFF2-40B4-BE49-F238E27FC236}">
                <a16:creationId xmlns:a16="http://schemas.microsoft.com/office/drawing/2014/main" id="{55657D19-CD0D-FCC2-0D7A-16AB8C541532}"/>
              </a:ext>
            </a:extLst>
          </p:cNvPr>
          <p:cNvSpPr>
            <a:spLocks noEditPoints="1"/>
          </p:cNvSpPr>
          <p:nvPr/>
        </p:nvSpPr>
        <p:spPr bwMode="auto">
          <a:xfrm>
            <a:off x="6538425" y="2554618"/>
            <a:ext cx="164216" cy="214195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Freeform 931">
            <a:extLst>
              <a:ext uri="{FF2B5EF4-FFF2-40B4-BE49-F238E27FC236}">
                <a16:creationId xmlns:a16="http://schemas.microsoft.com/office/drawing/2014/main" id="{ED88E527-C8F6-321E-19A9-AA923C606594}"/>
              </a:ext>
            </a:extLst>
          </p:cNvPr>
          <p:cNvSpPr>
            <a:spLocks noEditPoints="1"/>
          </p:cNvSpPr>
          <p:nvPr/>
        </p:nvSpPr>
        <p:spPr bwMode="auto">
          <a:xfrm>
            <a:off x="3521566" y="4257560"/>
            <a:ext cx="164216" cy="214195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Freeform 931">
            <a:extLst>
              <a:ext uri="{FF2B5EF4-FFF2-40B4-BE49-F238E27FC236}">
                <a16:creationId xmlns:a16="http://schemas.microsoft.com/office/drawing/2014/main" id="{80D67FEE-DFDA-0EAC-C270-76A9187D8D42}"/>
              </a:ext>
            </a:extLst>
          </p:cNvPr>
          <p:cNvSpPr>
            <a:spLocks noEditPoints="1"/>
          </p:cNvSpPr>
          <p:nvPr/>
        </p:nvSpPr>
        <p:spPr bwMode="auto">
          <a:xfrm>
            <a:off x="6538425" y="4257560"/>
            <a:ext cx="164216" cy="214195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3394913" y="2433115"/>
            <a:ext cx="457200" cy="457200"/>
            <a:chOff x="3227517" y="2814612"/>
            <a:chExt cx="457200" cy="457200"/>
          </a:xfrm>
        </p:grpSpPr>
        <p:sp>
          <p:nvSpPr>
            <p:cNvPr id="75" name="Oval 32">
              <a:extLst>
                <a:ext uri="{FF2B5EF4-FFF2-40B4-BE49-F238E27FC236}">
                  <a16:creationId xmlns:a16="http://schemas.microsoft.com/office/drawing/2014/main" id="{E1283D3C-B66C-6B5A-1128-1CF964F11621}"/>
                </a:ext>
              </a:extLst>
            </p:cNvPr>
            <p:cNvSpPr/>
            <p:nvPr/>
          </p:nvSpPr>
          <p:spPr>
            <a:xfrm>
              <a:off x="3227517" y="281461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 931">
              <a:extLst>
                <a:ext uri="{FF2B5EF4-FFF2-40B4-BE49-F238E27FC236}">
                  <a16:creationId xmlns:a16="http://schemas.microsoft.com/office/drawing/2014/main" id="{AFF6FF01-C0AE-1537-88D7-6B16BB5F6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1175" y="2936114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37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05140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898196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е в мероприятиях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194F2DB-6C84-17FF-0E5C-E1DCD3BA2494}"/>
              </a:ext>
            </a:extLst>
          </p:cNvPr>
          <p:cNvSpPr txBox="1"/>
          <p:nvPr/>
        </p:nvSpPr>
        <p:spPr>
          <a:xfrm>
            <a:off x="1318661" y="2025848"/>
            <a:ext cx="8373028" cy="40421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й семинар «Функциональная грамотность: учимся для жизни»</a:t>
            </a:r>
          </a:p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родительское собрание «Подготовиться и сдать ОГЭ»</a:t>
            </a:r>
          </a:p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й семинар для учителей химии «Решение сложных задач в ЕГЭ по химии»</a:t>
            </a:r>
          </a:p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ая неделя функциональной грамотности «Формирование естественно-научной грамотности с использованием оборудования центра «Точка Роста»</a:t>
            </a:r>
          </a:p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мероприятие (круглый стол) в рамках недели функциональной грамотности </a:t>
            </a:r>
          </a:p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семинар «Профориентация. Осознанность. ГИА» </a:t>
            </a:r>
          </a:p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семинар «Профилактика профессионального выгорания педагогов»</a:t>
            </a:r>
          </a:p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сероссийская акция «Я сдам ЕГЭ» (региональный уровень) </a:t>
            </a:r>
          </a:p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МО «Формирование финансовой и математической грамотности детей дошкольного возраста»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C93C11D-81F5-81F7-FD7A-1C652510ABBE}"/>
              </a:ext>
            </a:extLst>
          </p:cNvPr>
          <p:cNvSpPr/>
          <p:nvPr/>
        </p:nvSpPr>
        <p:spPr>
          <a:xfrm>
            <a:off x="3195339" y="1180246"/>
            <a:ext cx="61361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pc="600" dirty="0">
                <a:latin typeface="Arial"/>
                <a:cs typeface="Arial"/>
              </a:rPr>
              <a:t>муниципальных и региональных</a:t>
            </a:r>
            <a:endParaRPr lang="ru-RU" dirty="0"/>
          </a:p>
        </p:txBody>
      </p:sp>
      <p:grpSp>
        <p:nvGrpSpPr>
          <p:cNvPr id="33" name="Группа 32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36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grpSp>
        <p:nvGrpSpPr>
          <p:cNvPr id="44" name="Группа 43"/>
          <p:cNvGrpSpPr/>
          <p:nvPr/>
        </p:nvGrpSpPr>
        <p:grpSpPr>
          <a:xfrm rot="16200000">
            <a:off x="787766" y="2107331"/>
            <a:ext cx="284706" cy="284706"/>
            <a:chOff x="2862906" y="4174176"/>
            <a:chExt cx="526727" cy="526727"/>
          </a:xfrm>
        </p:grpSpPr>
        <p:sp>
          <p:nvSpPr>
            <p:cNvPr id="45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46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grpSp>
        <p:nvGrpSpPr>
          <p:cNvPr id="47" name="Группа 46"/>
          <p:cNvGrpSpPr/>
          <p:nvPr/>
        </p:nvGrpSpPr>
        <p:grpSpPr>
          <a:xfrm rot="16200000">
            <a:off x="787765" y="2690680"/>
            <a:ext cx="284706" cy="284706"/>
            <a:chOff x="2862906" y="4174176"/>
            <a:chExt cx="526727" cy="526727"/>
          </a:xfrm>
        </p:grpSpPr>
        <p:sp>
          <p:nvSpPr>
            <p:cNvPr id="48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49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 rot="16200000">
            <a:off x="787765" y="3295817"/>
            <a:ext cx="284706" cy="284706"/>
            <a:chOff x="2862906" y="4174176"/>
            <a:chExt cx="526727" cy="526727"/>
          </a:xfrm>
        </p:grpSpPr>
        <p:sp>
          <p:nvSpPr>
            <p:cNvPr id="51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52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grpSp>
        <p:nvGrpSpPr>
          <p:cNvPr id="60" name="Группа 59"/>
          <p:cNvGrpSpPr/>
          <p:nvPr/>
        </p:nvGrpSpPr>
        <p:grpSpPr>
          <a:xfrm rot="16200000">
            <a:off x="787765" y="3889598"/>
            <a:ext cx="284706" cy="284706"/>
            <a:chOff x="2862906" y="4174176"/>
            <a:chExt cx="526727" cy="526727"/>
          </a:xfrm>
        </p:grpSpPr>
        <p:sp>
          <p:nvSpPr>
            <p:cNvPr id="61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62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grpSp>
        <p:nvGrpSpPr>
          <p:cNvPr id="63" name="Группа 62"/>
          <p:cNvGrpSpPr/>
          <p:nvPr/>
        </p:nvGrpSpPr>
        <p:grpSpPr>
          <a:xfrm rot="16200000">
            <a:off x="787765" y="4368185"/>
            <a:ext cx="284706" cy="284706"/>
            <a:chOff x="2862906" y="4174176"/>
            <a:chExt cx="526727" cy="526727"/>
          </a:xfrm>
        </p:grpSpPr>
        <p:sp>
          <p:nvSpPr>
            <p:cNvPr id="64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65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grpSp>
        <p:nvGrpSpPr>
          <p:cNvPr id="66" name="Группа 65"/>
          <p:cNvGrpSpPr/>
          <p:nvPr/>
        </p:nvGrpSpPr>
        <p:grpSpPr>
          <a:xfrm rot="16200000">
            <a:off x="787765" y="4851191"/>
            <a:ext cx="284706" cy="284706"/>
            <a:chOff x="2862906" y="4174176"/>
            <a:chExt cx="526727" cy="526727"/>
          </a:xfrm>
        </p:grpSpPr>
        <p:sp>
          <p:nvSpPr>
            <p:cNvPr id="70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71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grpSp>
        <p:nvGrpSpPr>
          <p:cNvPr id="72" name="Группа 71"/>
          <p:cNvGrpSpPr/>
          <p:nvPr/>
        </p:nvGrpSpPr>
        <p:grpSpPr>
          <a:xfrm rot="16200000">
            <a:off x="787765" y="5446953"/>
            <a:ext cx="284706" cy="284706"/>
            <a:chOff x="2862906" y="4174176"/>
            <a:chExt cx="526727" cy="526727"/>
          </a:xfrm>
        </p:grpSpPr>
        <p:sp>
          <p:nvSpPr>
            <p:cNvPr id="73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74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172799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898196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е в мероприятиях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194F2DB-6C84-17FF-0E5C-E1DCD3BA2494}"/>
              </a:ext>
            </a:extLst>
          </p:cNvPr>
          <p:cNvSpPr txBox="1"/>
          <p:nvPr/>
        </p:nvSpPr>
        <p:spPr>
          <a:xfrm>
            <a:off x="1273771" y="2128014"/>
            <a:ext cx="8373028" cy="19774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семинар «Инновационные подходы в организации РППС по ранней профориентации дошкольников» </a:t>
            </a:r>
          </a:p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семинар «Организация ранней профориентационной работы с	детьми дошкольного возраста в рамках реализации регионального инновационного проекта.»</a:t>
            </a:r>
          </a:p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МО старших воспитателей «Программа воспитания: новый взгляд, новые возможности»</a:t>
            </a:r>
          </a:p>
          <a:p>
            <a:pPr>
              <a:spcBef>
                <a:spcPts val="700"/>
              </a:spcBef>
              <a:spcAft>
                <a:spcPts val="600"/>
              </a:spcAft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МО Муниципальная методическая неделя «Экспериментируем с живой и неживой природой»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C93C11D-81F5-81F7-FD7A-1C652510ABBE}"/>
              </a:ext>
            </a:extLst>
          </p:cNvPr>
          <p:cNvSpPr/>
          <p:nvPr/>
        </p:nvSpPr>
        <p:spPr>
          <a:xfrm>
            <a:off x="3195339" y="1180246"/>
            <a:ext cx="61361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pc="600" dirty="0">
                <a:latin typeface="Arial"/>
                <a:cs typeface="Arial"/>
              </a:rPr>
              <a:t>муниципальных и региональных</a:t>
            </a:r>
            <a:endParaRPr lang="ru-RU" dirty="0"/>
          </a:p>
        </p:txBody>
      </p:sp>
      <p:grpSp>
        <p:nvGrpSpPr>
          <p:cNvPr id="33" name="Группа 32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36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grpSp>
        <p:nvGrpSpPr>
          <p:cNvPr id="44" name="Группа 43"/>
          <p:cNvGrpSpPr/>
          <p:nvPr/>
        </p:nvGrpSpPr>
        <p:grpSpPr>
          <a:xfrm rot="16200000">
            <a:off x="787766" y="2107331"/>
            <a:ext cx="284706" cy="284706"/>
            <a:chOff x="2862906" y="4174176"/>
            <a:chExt cx="526727" cy="526727"/>
          </a:xfrm>
        </p:grpSpPr>
        <p:sp>
          <p:nvSpPr>
            <p:cNvPr id="45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46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grpSp>
        <p:nvGrpSpPr>
          <p:cNvPr id="47" name="Группа 46"/>
          <p:cNvGrpSpPr/>
          <p:nvPr/>
        </p:nvGrpSpPr>
        <p:grpSpPr>
          <a:xfrm rot="16200000">
            <a:off x="787765" y="2690680"/>
            <a:ext cx="284706" cy="284706"/>
            <a:chOff x="2862906" y="4174176"/>
            <a:chExt cx="526727" cy="526727"/>
          </a:xfrm>
        </p:grpSpPr>
        <p:sp>
          <p:nvSpPr>
            <p:cNvPr id="48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49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 rot="16200000">
            <a:off x="787765" y="3295817"/>
            <a:ext cx="284706" cy="284706"/>
            <a:chOff x="2862906" y="4174176"/>
            <a:chExt cx="526727" cy="526727"/>
          </a:xfrm>
        </p:grpSpPr>
        <p:sp>
          <p:nvSpPr>
            <p:cNvPr id="51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52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grpSp>
        <p:nvGrpSpPr>
          <p:cNvPr id="60" name="Группа 59"/>
          <p:cNvGrpSpPr/>
          <p:nvPr/>
        </p:nvGrpSpPr>
        <p:grpSpPr>
          <a:xfrm rot="16200000">
            <a:off x="787765" y="3889598"/>
            <a:ext cx="284706" cy="284706"/>
            <a:chOff x="2862906" y="4174176"/>
            <a:chExt cx="526727" cy="526727"/>
          </a:xfrm>
        </p:grpSpPr>
        <p:sp>
          <p:nvSpPr>
            <p:cNvPr id="61" name="Oval 32"/>
            <p:cNvSpPr/>
            <p:nvPr/>
          </p:nvSpPr>
          <p:spPr>
            <a:xfrm>
              <a:off x="2862906" y="4174176"/>
              <a:ext cx="526727" cy="526727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62" name="Rectangle 14"/>
            <p:cNvSpPr/>
            <p:nvPr/>
          </p:nvSpPr>
          <p:spPr>
            <a:xfrm rot="18900000">
              <a:off x="3029822" y="4306327"/>
              <a:ext cx="192895" cy="191856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7018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86"/>
          <p:cNvSpPr/>
          <p:nvPr/>
        </p:nvSpPr>
        <p:spPr>
          <a:xfrm rot="900000">
            <a:off x="545281" y="33607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826993" y="522725"/>
            <a:ext cx="881900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200" spc="3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тие Центра Детских Инициатив</a:t>
            </a:r>
            <a:endParaRPr lang="ru-RU" spc="3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7" name="Прямоугольник 26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9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Рисунок 29"/>
            <p:cNvPicPr>
              <a:picLocks noChangeAspect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1" name="Рисунок 30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2051" name="Picture 3" descr="C:\Users\User\Desktop\333.jpe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59257" y="2869729"/>
            <a:ext cx="4929687" cy="3697266"/>
          </a:xfrm>
          <a:prstGeom prst="rect">
            <a:avLst/>
          </a:prstGeom>
          <a:noFill/>
        </p:spPr>
      </p:pic>
      <p:pic>
        <p:nvPicPr>
          <p:cNvPr id="2052" name="Picture 4" descr="C:\Users\User\Desktop\44445.jpe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187980" y="1074870"/>
            <a:ext cx="4897867" cy="36734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036482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6"/>
          <p:cNvSpPr/>
          <p:nvPr/>
        </p:nvSpPr>
        <p:spPr>
          <a:xfrm rot="900000">
            <a:off x="561323" y="492758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848402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tabLst>
                <a:tab pos="2900680" algn="l"/>
              </a:tabLst>
            </a:pPr>
            <a:r>
              <a:rPr lang="ru-RU" sz="3600" dirty="0">
                <a:solidFill>
                  <a:srgbClr val="066948"/>
                </a:solidFill>
                <a:latin typeface="Arial" pitchFamily="34" charset="0"/>
                <a:cs typeface="Arial" pitchFamily="34" charset="0"/>
              </a:rPr>
              <a:t>Детские общественные объединения</a:t>
            </a:r>
            <a:endParaRPr lang="ru-RU" sz="36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8"/>
          <p:cNvSpPr/>
          <p:nvPr/>
        </p:nvSpPr>
        <p:spPr>
          <a:xfrm>
            <a:off x="1956968" y="4710201"/>
            <a:ext cx="6627068" cy="1769715"/>
          </a:xfrm>
          <a:prstGeom prst="rect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05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396229" y="4710202"/>
            <a:ext cx="7039637" cy="1769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tabLst>
                <a:tab pos="2900680" algn="l"/>
              </a:tabLst>
            </a:pP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лята России</a:t>
            </a:r>
          </a:p>
          <a:p>
            <a:pPr>
              <a:spcAft>
                <a:spcPts val="600"/>
              </a:spcAft>
              <a:tabLst>
                <a:tab pos="2900680" algn="l"/>
              </a:tabLst>
            </a:pP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ные талалихинцы</a:t>
            </a:r>
          </a:p>
          <a:p>
            <a:pPr>
              <a:spcAft>
                <a:spcPts val="600"/>
              </a:spcAft>
              <a:tabLst>
                <a:tab pos="2900680" algn="l"/>
              </a:tabLst>
            </a:pP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йское движение детей и молодежи</a:t>
            </a:r>
          </a:p>
          <a:p>
            <a:pPr>
              <a:spcAft>
                <a:spcPts val="600"/>
              </a:spcAft>
              <a:tabLst>
                <a:tab pos="2900680" algn="l"/>
              </a:tabLst>
            </a:pP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нармейское движение</a:t>
            </a:r>
          </a:p>
          <a:p>
            <a:pPr>
              <a:spcAft>
                <a:spcPts val="600"/>
              </a:spcAft>
              <a:tabLst>
                <a:tab pos="2900680" algn="l"/>
              </a:tabLst>
            </a:pP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ные инспекторы дорожного движения</a:t>
            </a:r>
          </a:p>
          <a:p>
            <a:pPr>
              <a:spcAft>
                <a:spcPts val="600"/>
              </a:spcAft>
              <a:tabLst>
                <a:tab pos="2900680" algn="l"/>
              </a:tabLst>
            </a:pP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лонтерское движение</a:t>
            </a:r>
          </a:p>
        </p:txBody>
      </p:sp>
      <p:grpSp>
        <p:nvGrpSpPr>
          <p:cNvPr id="60" name="Группа 59"/>
          <p:cNvGrpSpPr/>
          <p:nvPr/>
        </p:nvGrpSpPr>
        <p:grpSpPr>
          <a:xfrm>
            <a:off x="1617507" y="5361798"/>
            <a:ext cx="669149" cy="669149"/>
            <a:chOff x="6173658" y="2438672"/>
            <a:chExt cx="457200" cy="457200"/>
          </a:xfrm>
        </p:grpSpPr>
        <p:sp>
          <p:nvSpPr>
            <p:cNvPr id="61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36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64" name="Рисунок 20">
            <a:extLst>
              <a:ext uri="{FF2B5EF4-FFF2-40B4-BE49-F238E27FC236}">
                <a16:creationId xmlns:a16="http://schemas.microsoft.com/office/drawing/2014/main" id="{8AD8D691-4492-21DC-BA59-0B1A9D23D2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56"/>
          <a:stretch>
            <a:fillRect/>
          </a:stretch>
        </p:blipFill>
        <p:spPr bwMode="auto">
          <a:xfrm>
            <a:off x="587823" y="4566330"/>
            <a:ext cx="3869906" cy="27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Рисунок 20">
            <a:extLst>
              <a:ext uri="{FF2B5EF4-FFF2-40B4-BE49-F238E27FC236}">
                <a16:creationId xmlns:a16="http://schemas.microsoft.com/office/drawing/2014/main" id="{8AD8D691-4492-21DC-BA59-0B1A9D23D2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56"/>
          <a:stretch>
            <a:fillRect/>
          </a:stretch>
        </p:blipFill>
        <p:spPr bwMode="auto">
          <a:xfrm>
            <a:off x="5371076" y="4566330"/>
            <a:ext cx="3869906" cy="27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C:\Users\Евгения\Downloads\WhatsApp Image 2023-05-02 at 10.15.29.jpe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0029" y="1406224"/>
            <a:ext cx="3942639" cy="2956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Евгения\Downloads\WhatsApp Image 2023-05-02 at 10.17.57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813" y="1406224"/>
            <a:ext cx="4909184" cy="3009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C:\Users\Евгения\Downloads\WhatsApp Image 2023-05-02 at 10.22.04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95" y="3708483"/>
            <a:ext cx="5455661" cy="3077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84321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6"/>
          <p:cNvSpPr/>
          <p:nvPr/>
        </p:nvSpPr>
        <p:spPr>
          <a:xfrm rot="900000">
            <a:off x="561323" y="492758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848402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tabLst>
                <a:tab pos="2900680" algn="l"/>
              </a:tabLst>
            </a:pPr>
            <a:r>
              <a:rPr lang="ru-RU" sz="3600" dirty="0">
                <a:solidFill>
                  <a:srgbClr val="066948"/>
                </a:solidFill>
                <a:latin typeface="Arial" pitchFamily="34" charset="0"/>
                <a:cs typeface="Arial" pitchFamily="34" charset="0"/>
              </a:rPr>
              <a:t>Детские общественные объединения</a:t>
            </a:r>
            <a:endParaRPr lang="ru-RU" sz="36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8"/>
          <p:cNvSpPr/>
          <p:nvPr/>
        </p:nvSpPr>
        <p:spPr>
          <a:xfrm>
            <a:off x="1956968" y="4710201"/>
            <a:ext cx="6627068" cy="1769715"/>
          </a:xfrm>
          <a:prstGeom prst="rect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05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396229" y="4710202"/>
            <a:ext cx="703963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tabLst>
                <a:tab pos="2900680" algn="l"/>
              </a:tabLst>
            </a:pPr>
            <a:endParaRPr lang="ru-RU" sz="1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tabLst>
                <a:tab pos="2900680" algn="l"/>
              </a:tabLst>
            </a:pPr>
            <a:r>
              <a:rPr lang="ru-RU" sz="14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лята</a:t>
            </a: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молодые защитники природы</a:t>
            </a:r>
          </a:p>
          <a:p>
            <a:pPr>
              <a:spcAft>
                <a:spcPts val="600"/>
              </a:spcAft>
              <a:tabLst>
                <a:tab pos="2900680" algn="l"/>
              </a:tabLst>
            </a:pP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ные </a:t>
            </a:r>
            <a:r>
              <a:rPr lang="ru-RU" sz="14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лихинцы</a:t>
            </a:r>
            <a:endParaRPr lang="ru-RU" sz="1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1617507" y="5361798"/>
            <a:ext cx="669149" cy="669149"/>
            <a:chOff x="6173658" y="2438672"/>
            <a:chExt cx="457200" cy="457200"/>
          </a:xfrm>
        </p:grpSpPr>
        <p:sp>
          <p:nvSpPr>
            <p:cNvPr id="61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36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64" name="Рисунок 20">
            <a:extLst>
              <a:ext uri="{FF2B5EF4-FFF2-40B4-BE49-F238E27FC236}">
                <a16:creationId xmlns:a16="http://schemas.microsoft.com/office/drawing/2014/main" id="{8AD8D691-4492-21DC-BA59-0B1A9D23D2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56"/>
          <a:stretch>
            <a:fillRect/>
          </a:stretch>
        </p:blipFill>
        <p:spPr bwMode="auto">
          <a:xfrm>
            <a:off x="587823" y="4566330"/>
            <a:ext cx="3869906" cy="27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Рисунок 20">
            <a:extLst>
              <a:ext uri="{FF2B5EF4-FFF2-40B4-BE49-F238E27FC236}">
                <a16:creationId xmlns:a16="http://schemas.microsoft.com/office/drawing/2014/main" id="{8AD8D691-4492-21DC-BA59-0B1A9D23D2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56"/>
          <a:stretch>
            <a:fillRect/>
          </a:stretch>
        </p:blipFill>
        <p:spPr bwMode="auto">
          <a:xfrm>
            <a:off x="5371076" y="4566330"/>
            <a:ext cx="3869906" cy="27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AC53B4E-35C7-4C15-B453-D40F071F79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88" y="1208003"/>
            <a:ext cx="3690563" cy="276792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3C5CB32-68D2-4999-8C37-B3964D4C04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1076" y="1208003"/>
            <a:ext cx="4482907" cy="305117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2666A81-F1CB-4217-9A06-FD7A304C67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8060" y="3775862"/>
            <a:ext cx="3690562" cy="276792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93515A3-CEC6-47B7-B81E-1D91D0A2D0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085" y="3838646"/>
            <a:ext cx="5048030" cy="3019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4799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25">
          <a:fgClr>
            <a:schemeClr val="accent1">
              <a:lumMod val="75000"/>
            </a:schemeClr>
          </a:fgClr>
          <a:bgClr>
            <a:schemeClr val="accent1">
              <a:lumMod val="5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151663" y="2670590"/>
            <a:ext cx="854272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400" b="0" i="0" u="none" strike="noStrike" kern="0" cap="none" spc="6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РАЗОВАТЕЛЬНЫЙ</a:t>
            </a:r>
            <a:endParaRPr kumimoji="0" lang="en-US" sz="5400" b="0" i="0" u="none" strike="noStrike" kern="0" cap="none" spc="6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400" b="0" i="0" u="none" strike="noStrike" kern="0" cap="none" spc="6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ПЛЕКС</a:t>
            </a:r>
            <a:endParaRPr kumimoji="0" lang="en-US" sz="5400" b="0" i="0" u="none" strike="noStrike" kern="0" cap="none" spc="6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21806" y="2225276"/>
            <a:ext cx="82024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600" normalizeH="0" baseline="0" noProof="0" dirty="0">
                <a:ln>
                  <a:noFill/>
                </a:ln>
                <a:solidFill>
                  <a:srgbClr val="0BD3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ОУ Краснопутьская СОШ</a:t>
            </a:r>
            <a:endParaRPr kumimoji="0" lang="en-US" sz="2000" b="0" i="0" u="none" strike="noStrike" kern="0" cap="none" spc="600" normalizeH="0" baseline="0" noProof="0" dirty="0">
              <a:ln>
                <a:noFill/>
              </a:ln>
              <a:solidFill>
                <a:srgbClr val="0BD39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 rot="900000">
            <a:off x="4271517" y="-701664"/>
            <a:ext cx="1994017" cy="1994017"/>
          </a:xfrm>
          <a:prstGeom prst="rect">
            <a:avLst/>
          </a:prstGeom>
          <a:noFill/>
          <a:ln w="1047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236734" y="4801956"/>
            <a:ext cx="837258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00680" algn="l"/>
              </a:tabLst>
              <a:defRPr/>
            </a:pPr>
            <a:r>
              <a:rPr lang="ru-RU" sz="2800" spc="-5" dirty="0">
                <a:solidFill>
                  <a:prstClr val="white"/>
                </a:solidFill>
                <a:latin typeface="Arial"/>
                <a:cs typeface="Arial"/>
              </a:rPr>
              <a:t>Мульганова Вера Петровна</a:t>
            </a:r>
            <a:endParaRPr kumimoji="0" lang="ru-RU" sz="2800" b="0" i="0" u="none" strike="noStrike" kern="1200" cap="none" spc="-5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00680" algn="l"/>
              </a:tabLst>
              <a:defRPr/>
            </a:pPr>
            <a:r>
              <a:rPr kumimoji="0" lang="ru-RU" sz="1800" b="0" i="0" u="none" strike="noStrike" kern="1200" cap="none" spc="6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иректор школы</a:t>
            </a:r>
          </a:p>
        </p:txBody>
      </p:sp>
      <p:pic>
        <p:nvPicPr>
          <p:cNvPr id="6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56"/>
          <a:stretch>
            <a:fillRect/>
          </a:stretch>
        </p:blipFill>
        <p:spPr bwMode="auto">
          <a:xfrm>
            <a:off x="1081771" y="4314915"/>
            <a:ext cx="8721040" cy="627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Группа 17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5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234500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8"/>
          <p:cNvSpPr/>
          <p:nvPr/>
        </p:nvSpPr>
        <p:spPr>
          <a:xfrm>
            <a:off x="-1" y="1780257"/>
            <a:ext cx="12196705" cy="3574507"/>
          </a:xfrm>
          <a:prstGeom prst="rect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05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86"/>
          <p:cNvSpPr/>
          <p:nvPr/>
        </p:nvSpPr>
        <p:spPr>
          <a:xfrm rot="900000">
            <a:off x="603140" y="414982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895385" y="640677"/>
            <a:ext cx="7376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itchFamily="34" charset="0"/>
                <a:cs typeface="Arial" pitchFamily="34" charset="0"/>
              </a:rPr>
              <a:t>Волонтерское движение</a:t>
            </a:r>
          </a:p>
        </p:txBody>
      </p:sp>
      <p:sp>
        <p:nvSpPr>
          <p:cNvPr id="3074" name="AutoShape 2" descr="blob:https://web.whatsapp.com/ee7f4984-8a24-48b8-990d-8bb7b2b8eb2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5426459" y="5346438"/>
            <a:ext cx="485621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chemeClr val="accent2">
                    <a:lumMod val="75000"/>
                  </a:schemeClr>
                </a:solidFill>
              </a:rPr>
              <a:t>3 </a:t>
            </a:r>
            <a:r>
              <a:rPr lang="ru-RU" sz="28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о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рейтинге воспитательной работы по городскому округу Домодедово в 2023 году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2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sp>
        <p:nvSpPr>
          <p:cNvPr id="8" name="Прямоугольник 7"/>
          <p:cNvSpPr/>
          <p:nvPr/>
        </p:nvSpPr>
        <p:spPr>
          <a:xfrm>
            <a:off x="1973013" y="1098179"/>
            <a:ext cx="76623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pc="600" dirty="0">
                <a:solidFill>
                  <a:srgbClr val="066948"/>
                </a:solidFill>
                <a:latin typeface="Arial" pitchFamily="34" charset="0"/>
                <a:cs typeface="Arial" pitchFamily="34" charset="0"/>
              </a:rPr>
              <a:t>образовательного комплекс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84" y="1830355"/>
            <a:ext cx="2593678" cy="345607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3084" y="1884981"/>
            <a:ext cx="2579559" cy="343941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9200" y="1896320"/>
            <a:ext cx="2446002" cy="3414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351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6"/>
          <p:cNvSpPr/>
          <p:nvPr/>
        </p:nvSpPr>
        <p:spPr>
          <a:xfrm rot="900000">
            <a:off x="369503" y="252684"/>
            <a:ext cx="928522" cy="928522"/>
          </a:xfrm>
          <a:prstGeom prst="rect">
            <a:avLst/>
          </a:prstGeom>
          <a:noFill/>
          <a:ln w="57150">
            <a:solidFill>
              <a:srgbClr val="FF8F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88595" y="393779"/>
            <a:ext cx="301485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rgbClr val="B003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нармия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0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93" t="8918" r="12598" b="22032"/>
          <a:stretch/>
        </p:blipFill>
        <p:spPr>
          <a:xfrm>
            <a:off x="812006" y="1083251"/>
            <a:ext cx="2768035" cy="2695735"/>
          </a:xfrm>
          <a:prstGeom prst="rect">
            <a:avLst/>
          </a:prstGeom>
        </p:spPr>
      </p:pic>
      <p:pic>
        <p:nvPicPr>
          <p:cNvPr id="5122" name="Picture 2" descr="C:\Users\Евгения\Downloads\WhatsApp Image 2023-05-02 at 10.15.48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131" y="444495"/>
            <a:ext cx="5677246" cy="4257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C:\Users\Евгения\Downloads\WhatsApp Image 2023-05-02 at 10.22.03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2754" y="3778986"/>
            <a:ext cx="1525861" cy="294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C:\Users\Евгения\Downloads\WhatsApp Image 2023-05-02 at 10.22.04.jpe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95" y="3708483"/>
            <a:ext cx="5455661" cy="3077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24238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42AF907-85B7-8F1B-7648-0853FB46DDF8}"/>
              </a:ext>
            </a:extLst>
          </p:cNvPr>
          <p:cNvSpPr/>
          <p:nvPr/>
        </p:nvSpPr>
        <p:spPr>
          <a:xfrm>
            <a:off x="684689" y="5733955"/>
            <a:ext cx="9020626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A816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атриотический марафон </a:t>
            </a:r>
            <a:r>
              <a:rPr lang="ru-RU" sz="2800" b="1" dirty="0">
                <a:solidFill>
                  <a:srgbClr val="BC1F1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Славим Отечество»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 городскому округу Домодедово в 2022 году – 3 призера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3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sp>
        <p:nvSpPr>
          <p:cNvPr id="28" name="Rectangle 86"/>
          <p:cNvSpPr/>
          <p:nvPr/>
        </p:nvSpPr>
        <p:spPr>
          <a:xfrm rot="900000">
            <a:off x="369503" y="252684"/>
            <a:ext cx="928522" cy="928522"/>
          </a:xfrm>
          <a:prstGeom prst="rect">
            <a:avLst/>
          </a:prstGeom>
          <a:noFill/>
          <a:ln w="57150">
            <a:solidFill>
              <a:srgbClr val="FF8F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84690" y="393779"/>
            <a:ext cx="82601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rgbClr val="B003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риотическое воспитание</a:t>
            </a:r>
          </a:p>
        </p:txBody>
      </p:sp>
      <p:pic>
        <p:nvPicPr>
          <p:cNvPr id="1028" name="Picture 4" descr="C:\Users\Евгения\Downloads\WhatsApp Image 2023-05-02 at 09.25.34 (2)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690" y="1285547"/>
            <a:ext cx="2670605" cy="3026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Евгения\Downloads\WhatsApp Image 2023-05-02 at 09.25.34 (1)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373" y="1284411"/>
            <a:ext cx="6214572" cy="4313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Евгения\Downloads\WhatsApp Image 2023-05-02 at 09.25.34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689" y="3594650"/>
            <a:ext cx="2670606" cy="2002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03212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42AF907-85B7-8F1B-7648-0853FB46DDF8}"/>
              </a:ext>
            </a:extLst>
          </p:cNvPr>
          <p:cNvSpPr/>
          <p:nvPr/>
        </p:nvSpPr>
        <p:spPr>
          <a:xfrm>
            <a:off x="684690" y="5948890"/>
            <a:ext cx="9020626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A816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российская акция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rgbClr val="BC1F1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Бессмертный полк»</a:t>
            </a: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3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sp>
        <p:nvSpPr>
          <p:cNvPr id="28" name="Rectangle 86"/>
          <p:cNvSpPr/>
          <p:nvPr/>
        </p:nvSpPr>
        <p:spPr>
          <a:xfrm rot="900000">
            <a:off x="369503" y="252684"/>
            <a:ext cx="928522" cy="928522"/>
          </a:xfrm>
          <a:prstGeom prst="rect">
            <a:avLst/>
          </a:prstGeom>
          <a:noFill/>
          <a:ln w="57150">
            <a:solidFill>
              <a:srgbClr val="FF8F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84690" y="393779"/>
            <a:ext cx="82601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rgbClr val="B003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риотическое воспитание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7814804-7EDE-4161-B3E0-1C8B42AB79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134" y="1040110"/>
            <a:ext cx="3658603" cy="487813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87069E9-9A5E-4AF3-A973-86559EF104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282" y="1034674"/>
            <a:ext cx="4162731" cy="260170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194FECC-C18B-4880-A1B3-042C294D93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0374" y="3630945"/>
            <a:ext cx="4479758" cy="2450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784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42AF907-85B7-8F1B-7648-0853FB46DDF8}"/>
              </a:ext>
            </a:extLst>
          </p:cNvPr>
          <p:cNvSpPr/>
          <p:nvPr/>
        </p:nvSpPr>
        <p:spPr>
          <a:xfrm>
            <a:off x="684690" y="5286078"/>
            <a:ext cx="90206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отр строя и песни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3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sp>
        <p:nvSpPr>
          <p:cNvPr id="28" name="Rectangle 86"/>
          <p:cNvSpPr/>
          <p:nvPr/>
        </p:nvSpPr>
        <p:spPr>
          <a:xfrm rot="900000">
            <a:off x="369503" y="252684"/>
            <a:ext cx="928522" cy="928522"/>
          </a:xfrm>
          <a:prstGeom prst="rect">
            <a:avLst/>
          </a:prstGeom>
          <a:noFill/>
          <a:ln w="57150">
            <a:solidFill>
              <a:srgbClr val="FF8F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84690" y="393779"/>
            <a:ext cx="82601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rgbClr val="B003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риотическое воспитани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5B52D9C-D20F-4C31-A1DB-786F652485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162" y="1307692"/>
            <a:ext cx="5214957" cy="308008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C1F803C-27A3-4C2B-A3EA-73A108A8B6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9655" y="1048702"/>
            <a:ext cx="4743022" cy="315336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64D9D44-78D6-4636-AD89-3FAE75AB5A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2538" y="3860378"/>
            <a:ext cx="3804870" cy="2853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1289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6"/>
          <p:cNvSpPr/>
          <p:nvPr/>
        </p:nvSpPr>
        <p:spPr>
          <a:xfrm rot="900000">
            <a:off x="486474" y="357151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69231" y="498246"/>
            <a:ext cx="84747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крытие Парты героя 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9111" y="1390013"/>
            <a:ext cx="6941338" cy="5243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67433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818183" y="668872"/>
            <a:ext cx="876943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логическое образование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 rot="10800000" flipV="1">
            <a:off x="3734069" y="5464408"/>
            <a:ext cx="3417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Всероссийский конкурс экологического рисунка»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444456" y="5305809"/>
            <a:ext cx="30303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бластной детский конкурс ЭКОПОДМОСКОВЬЕ»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6975644" y="5136532"/>
            <a:ext cx="29083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ЭКО-Муза»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0B0D1E7-22D6-FC5E-4E36-A24D628ED8C0}"/>
              </a:ext>
            </a:extLst>
          </p:cNvPr>
          <p:cNvSpPr/>
          <p:nvPr/>
        </p:nvSpPr>
        <p:spPr>
          <a:xfrm>
            <a:off x="2954957" y="1309156"/>
            <a:ext cx="4300296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BC1F1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экологическом марафоне по городскому округу Домодедово в 2022 году - 3 призера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6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2050" name="Picture 2" descr="C:\Users\Евгения\Downloads\WhatsApp Image 2023-05-02 at 09.53.42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456" y="2538342"/>
            <a:ext cx="3030349" cy="2598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Евгения\Downloads\WhatsApp Image 2023-05-02 at 09.48.25.jpe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068" y="2754458"/>
            <a:ext cx="2916111" cy="2171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Евгения\Downloads\WhatsApp Image 2023-05-02 at 09.58.17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643" y="2543998"/>
            <a:ext cx="2908318" cy="2592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776077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8559" y="4702430"/>
            <a:ext cx="3684131" cy="2155569"/>
          </a:xfrm>
          <a:prstGeom prst="rect">
            <a:avLst/>
          </a:prstGeom>
        </p:spPr>
      </p:pic>
      <p:sp>
        <p:nvSpPr>
          <p:cNvPr id="4" name="Rectangle 86"/>
          <p:cNvSpPr/>
          <p:nvPr/>
        </p:nvSpPr>
        <p:spPr>
          <a:xfrm rot="900000">
            <a:off x="369503" y="252684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579421" y="393779"/>
            <a:ext cx="85146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кольные СМИ</a:t>
            </a:r>
          </a:p>
        </p:txBody>
      </p:sp>
      <p:pic>
        <p:nvPicPr>
          <p:cNvPr id="6147" name="Picture 3" descr="C:\Users\Евгения\Downloads\WhatsApp Image 2023-05-02 at 10.13.45.jpe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278" y="2281563"/>
            <a:ext cx="3156691" cy="1901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C:\Users\Евгения\Downloads\WhatsApp Image 2023-05-02 at 10.32.47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397" y="1661850"/>
            <a:ext cx="3060427" cy="4080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9" name="Picture 5" descr="C:\Users\Евгения\Downloads\WhatsApp Image 2023-05-02 at 10.32.46.jpe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62" y="1494339"/>
            <a:ext cx="3000208" cy="4248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1991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86"/>
          <p:cNvSpPr/>
          <p:nvPr/>
        </p:nvSpPr>
        <p:spPr>
          <a:xfrm rot="900000">
            <a:off x="548796" y="379984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844071" y="548823"/>
            <a:ext cx="973523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е партнерство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Freeform 931">
            <a:extLst>
              <a:ext uri="{FF2B5EF4-FFF2-40B4-BE49-F238E27FC236}">
                <a16:creationId xmlns:a16="http://schemas.microsoft.com/office/drawing/2014/main" id="{ED88E527-C8F6-321E-19A9-AA923C606594}"/>
              </a:ext>
            </a:extLst>
          </p:cNvPr>
          <p:cNvSpPr>
            <a:spLocks noEditPoints="1"/>
          </p:cNvSpPr>
          <p:nvPr/>
        </p:nvSpPr>
        <p:spPr bwMode="auto">
          <a:xfrm>
            <a:off x="3354170" y="4639057"/>
            <a:ext cx="164216" cy="214195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reeform 931">
            <a:extLst>
              <a:ext uri="{FF2B5EF4-FFF2-40B4-BE49-F238E27FC236}">
                <a16:creationId xmlns:a16="http://schemas.microsoft.com/office/drawing/2014/main" id="{E7E1AF1B-8350-1C2B-7D4A-7846DDBB77DE}"/>
              </a:ext>
            </a:extLst>
          </p:cNvPr>
          <p:cNvSpPr>
            <a:spLocks noEditPoints="1"/>
          </p:cNvSpPr>
          <p:nvPr/>
        </p:nvSpPr>
        <p:spPr bwMode="auto">
          <a:xfrm>
            <a:off x="4905921" y="5457103"/>
            <a:ext cx="164216" cy="214195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0D69124A-CBF4-FFA8-6A2E-D840152A4DA6}"/>
              </a:ext>
            </a:extLst>
          </p:cNvPr>
          <p:cNvSpPr/>
          <p:nvPr/>
        </p:nvSpPr>
        <p:spPr>
          <a:xfrm>
            <a:off x="5888405" y="2333556"/>
            <a:ext cx="422596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овская музыкальная школа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путьская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льская библиотека №3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овская сельская библиотека №31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модедовское благочиние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ДК «Русь»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ДК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овский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СПМ-Сервис»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43DACFF-3B3D-A783-C599-E0D7154FE03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79436" y="2297967"/>
            <a:ext cx="442793" cy="442793"/>
          </a:xfrm>
          <a:prstGeom prst="rect">
            <a:avLst/>
          </a:prstGeom>
        </p:spPr>
      </p:pic>
      <p:grpSp>
        <p:nvGrpSpPr>
          <p:cNvPr id="33" name="Группа 32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44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943DACFF-3B3D-A783-C599-E0D7154FE03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79436" y="5818532"/>
            <a:ext cx="442793" cy="442793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943DACFF-3B3D-A783-C599-E0D7154FE03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79436" y="2800905"/>
            <a:ext cx="442793" cy="442793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943DACFF-3B3D-A783-C599-E0D7154FE03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79436" y="3303843"/>
            <a:ext cx="442793" cy="442793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943DACFF-3B3D-A783-C599-E0D7154FE03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79436" y="3806781"/>
            <a:ext cx="442793" cy="442793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943DACFF-3B3D-A783-C599-E0D7154FE03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79436" y="4309719"/>
            <a:ext cx="442793" cy="442793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943DACFF-3B3D-A783-C599-E0D7154FE03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79436" y="4812657"/>
            <a:ext cx="442793" cy="442793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943DACFF-3B3D-A783-C599-E0D7154FE03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79436" y="5315595"/>
            <a:ext cx="442793" cy="442793"/>
          </a:xfrm>
          <a:prstGeom prst="rect">
            <a:avLst/>
          </a:prstGeom>
        </p:spPr>
      </p:pic>
      <p:pic>
        <p:nvPicPr>
          <p:cNvPr id="3076" name="Picture 4" descr="C:\Users\Евгения\Downloads\WhatsApp Image 2023-05-02 at 10.07.59.jpe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213" y="4228196"/>
            <a:ext cx="2398238" cy="1798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C:\Users\Евгения\Downloads\WhatsApp Image 2023-05-02 at 10.06.14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754" y="4228196"/>
            <a:ext cx="2398239" cy="1798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C:\Users\Евгения\Downloads\WhatsApp Image 2023-05-02 at 10.05.36.jpe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151" y="1485144"/>
            <a:ext cx="3218127" cy="241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C:\Users\Евгения\Downloads\WhatsApp Image 2023-05-02 at 10.06.34.jpe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693" y="1485144"/>
            <a:ext cx="1600323" cy="241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05644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86"/>
          <p:cNvSpPr/>
          <p:nvPr/>
        </p:nvSpPr>
        <p:spPr>
          <a:xfrm rot="900000">
            <a:off x="548796" y="379984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1238707" y="467469"/>
            <a:ext cx="973523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4400" spc="600" dirty="0">
                <a:solidFill>
                  <a:srgbClr val="06694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ориентация</a:t>
            </a:r>
          </a:p>
        </p:txBody>
      </p:sp>
      <p:sp>
        <p:nvSpPr>
          <p:cNvPr id="78" name="Freeform 931">
            <a:extLst>
              <a:ext uri="{FF2B5EF4-FFF2-40B4-BE49-F238E27FC236}">
                <a16:creationId xmlns:a16="http://schemas.microsoft.com/office/drawing/2014/main" id="{ED88E527-C8F6-321E-19A9-AA923C606594}"/>
              </a:ext>
            </a:extLst>
          </p:cNvPr>
          <p:cNvSpPr>
            <a:spLocks noEditPoints="1"/>
          </p:cNvSpPr>
          <p:nvPr/>
        </p:nvSpPr>
        <p:spPr bwMode="auto">
          <a:xfrm>
            <a:off x="3354170" y="4639057"/>
            <a:ext cx="164216" cy="214195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reeform 931">
            <a:extLst>
              <a:ext uri="{FF2B5EF4-FFF2-40B4-BE49-F238E27FC236}">
                <a16:creationId xmlns:a16="http://schemas.microsoft.com/office/drawing/2014/main" id="{E7E1AF1B-8350-1C2B-7D4A-7846DDBB77DE}"/>
              </a:ext>
            </a:extLst>
          </p:cNvPr>
          <p:cNvSpPr>
            <a:spLocks noEditPoints="1"/>
          </p:cNvSpPr>
          <p:nvPr/>
        </p:nvSpPr>
        <p:spPr bwMode="auto">
          <a:xfrm>
            <a:off x="4905921" y="5457103"/>
            <a:ext cx="164216" cy="214195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44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7170" name="Picture 2" descr="C:\Users\Евгения\Downloads\WhatsApp Image 2023-05-02 at 10.39.14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455" y="1510882"/>
            <a:ext cx="3301280" cy="455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1" name="Picture 3" descr="C:\Users\Евгения\Downloads\WhatsApp Image 2023-05-02 at 10.44.12.jpe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5179" y="1432193"/>
            <a:ext cx="2878095" cy="471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User\Desktop\2888.jpe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10988" y="1773716"/>
            <a:ext cx="3029639" cy="40431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918892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893670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комплекса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B9D605-ED93-48CD-A826-1D2205D8F9A4}"/>
              </a:ext>
            </a:extLst>
          </p:cNvPr>
          <p:cNvSpPr txBox="1"/>
          <p:nvPr/>
        </p:nvSpPr>
        <p:spPr>
          <a:xfrm>
            <a:off x="1680274" y="2317609"/>
            <a:ext cx="2362394" cy="307777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Миссия школы</a:t>
            </a:r>
            <a:endParaRPr lang="en-US" sz="2000" b="1" dirty="0">
              <a:latin typeface="Arial" panose="020B0604020202020204" pitchFamily="34" charset="0"/>
              <a:ea typeface="Lato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2B6329D-1C0D-4FD6-AF61-D1608DAE0D5F}"/>
              </a:ext>
            </a:extLst>
          </p:cNvPr>
          <p:cNvSpPr txBox="1"/>
          <p:nvPr/>
        </p:nvSpPr>
        <p:spPr bwMode="auto">
          <a:xfrm>
            <a:off x="681091" y="1947118"/>
            <a:ext cx="104160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800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ea typeface="Lato Black" panose="020F0502020204030203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9" name="Rectangle 10">
            <a:extLst>
              <a:ext uri="{FF2B5EF4-FFF2-40B4-BE49-F238E27FC236}">
                <a16:creationId xmlns:a16="http://schemas.microsoft.com/office/drawing/2014/main" id="{1747699C-E304-4FED-AA05-CD6247CAEBBE}"/>
              </a:ext>
            </a:extLst>
          </p:cNvPr>
          <p:cNvSpPr/>
          <p:nvPr/>
        </p:nvSpPr>
        <p:spPr>
          <a:xfrm>
            <a:off x="765948" y="2708862"/>
            <a:ext cx="722616" cy="149385"/>
          </a:xfrm>
          <a:prstGeom prst="rect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1D75CEF6-6DBE-4CA3-8EE3-D7524073DAF0}"/>
              </a:ext>
            </a:extLst>
          </p:cNvPr>
          <p:cNvSpPr/>
          <p:nvPr/>
        </p:nvSpPr>
        <p:spPr>
          <a:xfrm>
            <a:off x="1689865" y="2778115"/>
            <a:ext cx="2456230" cy="40607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образовательной среды школы, ориентированной на позитивную социализацию обучающихся с различными образовательными потребностями и возможностями, через повышение качества и эффективности деятельности всех компонентов образовательной системы школы в соответствии со стратегией развития российского образования и современными потребностями общества.</a:t>
            </a:r>
          </a:p>
          <a:p>
            <a:pPr>
              <a:lnSpc>
                <a:spcPct val="120000"/>
              </a:lnSpc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alt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B9D605-ED93-48CD-A826-1D2205D8F9A4}"/>
              </a:ext>
            </a:extLst>
          </p:cNvPr>
          <p:cNvSpPr txBox="1"/>
          <p:nvPr/>
        </p:nvSpPr>
        <p:spPr>
          <a:xfrm>
            <a:off x="5347604" y="2317609"/>
            <a:ext cx="3812025" cy="307777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Направления развития</a:t>
            </a:r>
            <a:endParaRPr lang="en-US" sz="2000" b="1" dirty="0">
              <a:latin typeface="Arial" panose="020B0604020202020204" pitchFamily="34" charset="0"/>
              <a:ea typeface="Lato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2B6329D-1C0D-4FD6-AF61-D1608DAE0D5F}"/>
              </a:ext>
            </a:extLst>
          </p:cNvPr>
          <p:cNvSpPr txBox="1"/>
          <p:nvPr/>
        </p:nvSpPr>
        <p:spPr bwMode="auto">
          <a:xfrm>
            <a:off x="4212271" y="1947118"/>
            <a:ext cx="113519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800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ea typeface="Lato Black" panose="020F0502020204030203" pitchFamily="34" charset="0"/>
                <a:cs typeface="Arial" panose="020B0604020202020204" pitchFamily="34" charset="0"/>
              </a:rPr>
              <a:t>0</a:t>
            </a:r>
            <a:r>
              <a:rPr lang="ru-RU" sz="4800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ea typeface="Lato Black" panose="020F0502020204030203" pitchFamily="34" charset="0"/>
                <a:cs typeface="Arial" panose="020B0604020202020204" pitchFamily="34" charset="0"/>
              </a:rPr>
              <a:t>2</a:t>
            </a:r>
            <a:endParaRPr lang="en-US" sz="4800" dirty="0">
              <a:solidFill>
                <a:schemeClr val="accent1">
                  <a:lumMod val="50000"/>
                </a:schemeClr>
              </a:solidFill>
              <a:latin typeface="Arial Black" panose="020B0A04020102020204" pitchFamily="34" charset="0"/>
              <a:ea typeface="Lato Black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1747699C-E304-4FED-AA05-CD6247CAEBBE}"/>
              </a:ext>
            </a:extLst>
          </p:cNvPr>
          <p:cNvSpPr/>
          <p:nvPr/>
        </p:nvSpPr>
        <p:spPr>
          <a:xfrm>
            <a:off x="4305903" y="2705689"/>
            <a:ext cx="778326" cy="155730"/>
          </a:xfrm>
          <a:prstGeom prst="rect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1D75CEF6-6DBE-4CA3-8EE3-D7524073DAF0}"/>
              </a:ext>
            </a:extLst>
          </p:cNvPr>
          <p:cNvSpPr/>
          <p:nvPr/>
        </p:nvSpPr>
        <p:spPr>
          <a:xfrm>
            <a:off x="5285529" y="2778115"/>
            <a:ext cx="4729672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1.Достижение качества образования соответствующего требованиям обновленных ФГОС  за счет различных инструментов. 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2.Повышение профессиональной компетентности педагогических кадров через реализацию технологии методического сопровождения образовательного процесса.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3.Создание условий для индивидуального развития личности, выявления и реализации возможностей каждого ребенка, поддержки одаренных и талантливых детей. 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4.Развитие воспитательной среды, формирующей активную жизненную позицию обучающихся. 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5. Совершенствование системы общественного управления МАОУ Краснопутьской СОШ через разработку и реализацию совместных проектов, направленных на совершенствование учебно-воспитательного процесса и материально-технического обеспечения школы. 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6. Формирование безопасной, комфортной, экономически эффективной цифровой среды.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7.Формирование образовательной среды, обеспечивающей сохранение здоровья, безопасности участников образовательного процесса</a:t>
            </a:r>
            <a:r>
              <a:rPr lang="ru-RU" dirty="0"/>
              <a:t>.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27" name="Прямоугольник 26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29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Рисунок 31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67222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887332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действие с родителями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835321F-C1E3-45BB-A66F-FF513EA1E712}"/>
              </a:ext>
            </a:extLst>
          </p:cNvPr>
          <p:cNvSpPr txBox="1"/>
          <p:nvPr/>
        </p:nvSpPr>
        <p:spPr>
          <a:xfrm>
            <a:off x="2109612" y="1762008"/>
            <a:ext cx="7206749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altLang="ko-KR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Личный приём </a:t>
            </a:r>
            <a:r>
              <a:rPr lang="ru-RU" altLang="ko-KR" sz="1400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– 64 встреч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altLang="ko-KR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Час директора </a:t>
            </a:r>
            <a:r>
              <a:rPr lang="ru-RU" altLang="ko-KR" sz="1400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– 25 мероприятия</a:t>
            </a:r>
            <a:endParaRPr lang="ko-KR" altLang="en-US" sz="1400" dirty="0">
              <a:solidFill>
                <a:srgbClr val="DFE3E5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altLang="ko-KR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Общешкольное родительское собрание </a:t>
            </a:r>
            <a:r>
              <a:rPr lang="ru-RU" altLang="ko-KR" sz="1400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– 6 мероприятий</a:t>
            </a:r>
            <a:endParaRPr lang="ko-KR" altLang="en-US" sz="1400" dirty="0">
              <a:solidFill>
                <a:srgbClr val="DFE3E5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altLang="ko-KR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Единый родительский день </a:t>
            </a:r>
            <a:r>
              <a:rPr lang="ru-RU" altLang="ko-KR" sz="1400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– 5 мероприятий</a:t>
            </a:r>
            <a:endParaRPr lang="ko-KR" altLang="en-US" sz="1400" dirty="0">
              <a:solidFill>
                <a:srgbClr val="DFE3E5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altLang="ko-KR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Тематические родительские лектории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ko-KR" sz="1400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сопровождение одаренных детей в семье и школе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ko-KR" sz="1400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социально-психологическое сопровождение выпускников при подготовке к ГИА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ko-KR" sz="1400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работа службы медиации в комплексе</a:t>
            </a:r>
            <a:endParaRPr lang="ko-KR" altLang="en-US" sz="1400" dirty="0">
              <a:solidFill>
                <a:srgbClr val="DFE3E5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altLang="ko-KR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Совет отцов школы</a:t>
            </a:r>
            <a:endParaRPr lang="ko-KR" altLang="en-US" dirty="0">
              <a:solidFill>
                <a:srgbClr val="DFE3E5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altLang="ko-KR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Собрание председателей </a:t>
            </a:r>
            <a:r>
              <a:rPr lang="ru-RU" altLang="ko-KR" sz="1400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родительских советов школ и детских садов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altLang="ko-KR" dirty="0">
                <a:solidFill>
                  <a:srgbClr val="DFE3E5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дительский клуб «Наша дружная семья»</a:t>
            </a:r>
            <a:endParaRPr lang="ko-KR" altLang="en-US" dirty="0">
              <a:solidFill>
                <a:srgbClr val="DFE3E5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Группа 51"/>
          <p:cNvGrpSpPr/>
          <p:nvPr/>
        </p:nvGrpSpPr>
        <p:grpSpPr>
          <a:xfrm>
            <a:off x="1669640" y="1781635"/>
            <a:ext cx="337232" cy="337232"/>
            <a:chOff x="3227517" y="2814612"/>
            <a:chExt cx="457200" cy="457200"/>
          </a:xfrm>
        </p:grpSpPr>
        <p:sp>
          <p:nvSpPr>
            <p:cNvPr id="53" name="Oval 32">
              <a:extLst>
                <a:ext uri="{FF2B5EF4-FFF2-40B4-BE49-F238E27FC236}">
                  <a16:creationId xmlns:a16="http://schemas.microsoft.com/office/drawing/2014/main" id="{E1283D3C-B66C-6B5A-1128-1CF964F11621}"/>
                </a:ext>
              </a:extLst>
            </p:cNvPr>
            <p:cNvSpPr/>
            <p:nvPr/>
          </p:nvSpPr>
          <p:spPr>
            <a:xfrm>
              <a:off x="3227517" y="281461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931">
              <a:extLst>
                <a:ext uri="{FF2B5EF4-FFF2-40B4-BE49-F238E27FC236}">
                  <a16:creationId xmlns:a16="http://schemas.microsoft.com/office/drawing/2014/main" id="{AFF6FF01-C0AE-1537-88D7-6B16BB5F6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1175" y="2936114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1" name="Группа 60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62" name="Прямоугольник 61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64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" name="Рисунок 70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72" name="Рисунок 71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grpSp>
        <p:nvGrpSpPr>
          <p:cNvPr id="16" name="Группа 15"/>
          <p:cNvGrpSpPr/>
          <p:nvPr/>
        </p:nvGrpSpPr>
        <p:grpSpPr>
          <a:xfrm>
            <a:off x="2198976" y="2160481"/>
            <a:ext cx="6908812" cy="3682726"/>
            <a:chOff x="2307616" y="2214802"/>
            <a:chExt cx="7028019" cy="3682726"/>
          </a:xfrm>
        </p:grpSpPr>
        <p:cxnSp>
          <p:nvCxnSpPr>
            <p:cNvPr id="21" name="Straight Connector 10">
              <a:extLst>
                <a:ext uri="{FF2B5EF4-FFF2-40B4-BE49-F238E27FC236}">
                  <a16:creationId xmlns:a16="http://schemas.microsoft.com/office/drawing/2014/main" id="{8DAEDE6A-B9AD-85A3-7BDB-EF0B53875C61}"/>
                </a:ext>
              </a:extLst>
            </p:cNvPr>
            <p:cNvCxnSpPr>
              <a:cxnSpLocks/>
            </p:cNvCxnSpPr>
            <p:nvPr/>
          </p:nvCxnSpPr>
          <p:spPr>
            <a:xfrm>
              <a:off x="2307616" y="2214802"/>
              <a:ext cx="7028019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10">
              <a:extLst>
                <a:ext uri="{FF2B5EF4-FFF2-40B4-BE49-F238E27FC236}">
                  <a16:creationId xmlns:a16="http://schemas.microsoft.com/office/drawing/2014/main" id="{8DAEDE6A-B9AD-85A3-7BDB-EF0B53875C61}"/>
                </a:ext>
              </a:extLst>
            </p:cNvPr>
            <p:cNvCxnSpPr>
              <a:cxnSpLocks/>
            </p:cNvCxnSpPr>
            <p:nvPr/>
          </p:nvCxnSpPr>
          <p:spPr>
            <a:xfrm>
              <a:off x="2307616" y="2647740"/>
              <a:ext cx="7028019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10">
              <a:extLst>
                <a:ext uri="{FF2B5EF4-FFF2-40B4-BE49-F238E27FC236}">
                  <a16:creationId xmlns:a16="http://schemas.microsoft.com/office/drawing/2014/main" id="{8DAEDE6A-B9AD-85A3-7BDB-EF0B53875C61}"/>
                </a:ext>
              </a:extLst>
            </p:cNvPr>
            <p:cNvCxnSpPr>
              <a:cxnSpLocks/>
            </p:cNvCxnSpPr>
            <p:nvPr/>
          </p:nvCxnSpPr>
          <p:spPr>
            <a:xfrm>
              <a:off x="2307616" y="3089645"/>
              <a:ext cx="7028019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10">
              <a:extLst>
                <a:ext uri="{FF2B5EF4-FFF2-40B4-BE49-F238E27FC236}">
                  <a16:creationId xmlns:a16="http://schemas.microsoft.com/office/drawing/2014/main" id="{8DAEDE6A-B9AD-85A3-7BDB-EF0B53875C61}"/>
                </a:ext>
              </a:extLst>
            </p:cNvPr>
            <p:cNvCxnSpPr>
              <a:cxnSpLocks/>
            </p:cNvCxnSpPr>
            <p:nvPr/>
          </p:nvCxnSpPr>
          <p:spPr>
            <a:xfrm>
              <a:off x="2307616" y="3502331"/>
              <a:ext cx="7028019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10">
              <a:extLst>
                <a:ext uri="{FF2B5EF4-FFF2-40B4-BE49-F238E27FC236}">
                  <a16:creationId xmlns:a16="http://schemas.microsoft.com/office/drawing/2014/main" id="{8DAEDE6A-B9AD-85A3-7BDB-EF0B53875C61}"/>
                </a:ext>
              </a:extLst>
            </p:cNvPr>
            <p:cNvCxnSpPr>
              <a:cxnSpLocks/>
            </p:cNvCxnSpPr>
            <p:nvPr/>
          </p:nvCxnSpPr>
          <p:spPr>
            <a:xfrm>
              <a:off x="2307616" y="5046521"/>
              <a:ext cx="7028019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10">
              <a:extLst>
                <a:ext uri="{FF2B5EF4-FFF2-40B4-BE49-F238E27FC236}">
                  <a16:creationId xmlns:a16="http://schemas.microsoft.com/office/drawing/2014/main" id="{8DAEDE6A-B9AD-85A3-7BDB-EF0B53875C61}"/>
                </a:ext>
              </a:extLst>
            </p:cNvPr>
            <p:cNvCxnSpPr>
              <a:cxnSpLocks/>
            </p:cNvCxnSpPr>
            <p:nvPr/>
          </p:nvCxnSpPr>
          <p:spPr>
            <a:xfrm>
              <a:off x="2307616" y="5455419"/>
              <a:ext cx="7028019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10">
              <a:extLst>
                <a:ext uri="{FF2B5EF4-FFF2-40B4-BE49-F238E27FC236}">
                  <a16:creationId xmlns:a16="http://schemas.microsoft.com/office/drawing/2014/main" id="{8DAEDE6A-B9AD-85A3-7BDB-EF0B53875C61}"/>
                </a:ext>
              </a:extLst>
            </p:cNvPr>
            <p:cNvCxnSpPr>
              <a:cxnSpLocks/>
            </p:cNvCxnSpPr>
            <p:nvPr/>
          </p:nvCxnSpPr>
          <p:spPr>
            <a:xfrm>
              <a:off x="2307616" y="5897528"/>
              <a:ext cx="7028019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  <a:alpha val="48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Группа 99"/>
          <p:cNvGrpSpPr/>
          <p:nvPr/>
        </p:nvGrpSpPr>
        <p:grpSpPr>
          <a:xfrm>
            <a:off x="1669640" y="2207139"/>
            <a:ext cx="337232" cy="337232"/>
            <a:chOff x="3227517" y="2814612"/>
            <a:chExt cx="457200" cy="457200"/>
          </a:xfrm>
        </p:grpSpPr>
        <p:sp>
          <p:nvSpPr>
            <p:cNvPr id="101" name="Oval 32">
              <a:extLst>
                <a:ext uri="{FF2B5EF4-FFF2-40B4-BE49-F238E27FC236}">
                  <a16:creationId xmlns:a16="http://schemas.microsoft.com/office/drawing/2014/main" id="{E1283D3C-B66C-6B5A-1128-1CF964F11621}"/>
                </a:ext>
              </a:extLst>
            </p:cNvPr>
            <p:cNvSpPr/>
            <p:nvPr/>
          </p:nvSpPr>
          <p:spPr>
            <a:xfrm>
              <a:off x="3227517" y="281461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931">
              <a:extLst>
                <a:ext uri="{FF2B5EF4-FFF2-40B4-BE49-F238E27FC236}">
                  <a16:creationId xmlns:a16="http://schemas.microsoft.com/office/drawing/2014/main" id="{AFF6FF01-C0AE-1537-88D7-6B16BB5F6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1175" y="2936114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1669640" y="2632643"/>
            <a:ext cx="337232" cy="337232"/>
            <a:chOff x="3227517" y="2814612"/>
            <a:chExt cx="457200" cy="457200"/>
          </a:xfrm>
        </p:grpSpPr>
        <p:sp>
          <p:nvSpPr>
            <p:cNvPr id="104" name="Oval 32">
              <a:extLst>
                <a:ext uri="{FF2B5EF4-FFF2-40B4-BE49-F238E27FC236}">
                  <a16:creationId xmlns:a16="http://schemas.microsoft.com/office/drawing/2014/main" id="{E1283D3C-B66C-6B5A-1128-1CF964F11621}"/>
                </a:ext>
              </a:extLst>
            </p:cNvPr>
            <p:cNvSpPr/>
            <p:nvPr/>
          </p:nvSpPr>
          <p:spPr>
            <a:xfrm>
              <a:off x="3227517" y="281461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931">
              <a:extLst>
                <a:ext uri="{FF2B5EF4-FFF2-40B4-BE49-F238E27FC236}">
                  <a16:creationId xmlns:a16="http://schemas.microsoft.com/office/drawing/2014/main" id="{AFF6FF01-C0AE-1537-88D7-6B16BB5F6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1175" y="2936114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6" name="Группа 105"/>
          <p:cNvGrpSpPr/>
          <p:nvPr/>
        </p:nvGrpSpPr>
        <p:grpSpPr>
          <a:xfrm>
            <a:off x="1669640" y="3058147"/>
            <a:ext cx="337232" cy="337232"/>
            <a:chOff x="3227517" y="2814612"/>
            <a:chExt cx="457200" cy="457200"/>
          </a:xfrm>
        </p:grpSpPr>
        <p:sp>
          <p:nvSpPr>
            <p:cNvPr id="107" name="Oval 32">
              <a:extLst>
                <a:ext uri="{FF2B5EF4-FFF2-40B4-BE49-F238E27FC236}">
                  <a16:creationId xmlns:a16="http://schemas.microsoft.com/office/drawing/2014/main" id="{E1283D3C-B66C-6B5A-1128-1CF964F11621}"/>
                </a:ext>
              </a:extLst>
            </p:cNvPr>
            <p:cNvSpPr/>
            <p:nvPr/>
          </p:nvSpPr>
          <p:spPr>
            <a:xfrm>
              <a:off x="3227517" y="281461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931">
              <a:extLst>
                <a:ext uri="{FF2B5EF4-FFF2-40B4-BE49-F238E27FC236}">
                  <a16:creationId xmlns:a16="http://schemas.microsoft.com/office/drawing/2014/main" id="{AFF6FF01-C0AE-1537-88D7-6B16BB5F6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1175" y="2936114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9" name="Группа 108"/>
          <p:cNvGrpSpPr/>
          <p:nvPr/>
        </p:nvGrpSpPr>
        <p:grpSpPr>
          <a:xfrm>
            <a:off x="1669640" y="3483653"/>
            <a:ext cx="337232" cy="337232"/>
            <a:chOff x="3227517" y="2814612"/>
            <a:chExt cx="457200" cy="457200"/>
          </a:xfrm>
        </p:grpSpPr>
        <p:sp>
          <p:nvSpPr>
            <p:cNvPr id="110" name="Oval 32">
              <a:extLst>
                <a:ext uri="{FF2B5EF4-FFF2-40B4-BE49-F238E27FC236}">
                  <a16:creationId xmlns:a16="http://schemas.microsoft.com/office/drawing/2014/main" id="{E1283D3C-B66C-6B5A-1128-1CF964F11621}"/>
                </a:ext>
              </a:extLst>
            </p:cNvPr>
            <p:cNvSpPr/>
            <p:nvPr/>
          </p:nvSpPr>
          <p:spPr>
            <a:xfrm>
              <a:off x="3227517" y="281461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931">
              <a:extLst>
                <a:ext uri="{FF2B5EF4-FFF2-40B4-BE49-F238E27FC236}">
                  <a16:creationId xmlns:a16="http://schemas.microsoft.com/office/drawing/2014/main" id="{AFF6FF01-C0AE-1537-88D7-6B16BB5F6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1175" y="2936114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2" name="Группа 111"/>
          <p:cNvGrpSpPr/>
          <p:nvPr/>
        </p:nvGrpSpPr>
        <p:grpSpPr>
          <a:xfrm>
            <a:off x="1669640" y="4992520"/>
            <a:ext cx="337232" cy="337232"/>
            <a:chOff x="3227517" y="2814612"/>
            <a:chExt cx="457200" cy="457200"/>
          </a:xfrm>
        </p:grpSpPr>
        <p:sp>
          <p:nvSpPr>
            <p:cNvPr id="113" name="Oval 32">
              <a:extLst>
                <a:ext uri="{FF2B5EF4-FFF2-40B4-BE49-F238E27FC236}">
                  <a16:creationId xmlns:a16="http://schemas.microsoft.com/office/drawing/2014/main" id="{E1283D3C-B66C-6B5A-1128-1CF964F11621}"/>
                </a:ext>
              </a:extLst>
            </p:cNvPr>
            <p:cNvSpPr/>
            <p:nvPr/>
          </p:nvSpPr>
          <p:spPr>
            <a:xfrm>
              <a:off x="3227517" y="281461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931">
              <a:extLst>
                <a:ext uri="{FF2B5EF4-FFF2-40B4-BE49-F238E27FC236}">
                  <a16:creationId xmlns:a16="http://schemas.microsoft.com/office/drawing/2014/main" id="{AFF6FF01-C0AE-1537-88D7-6B16BB5F6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1175" y="2936114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5" name="Группа 114"/>
          <p:cNvGrpSpPr/>
          <p:nvPr/>
        </p:nvGrpSpPr>
        <p:grpSpPr>
          <a:xfrm>
            <a:off x="1669640" y="5430762"/>
            <a:ext cx="337232" cy="337232"/>
            <a:chOff x="3227517" y="2814612"/>
            <a:chExt cx="457200" cy="457200"/>
          </a:xfrm>
        </p:grpSpPr>
        <p:sp>
          <p:nvSpPr>
            <p:cNvPr id="116" name="Oval 32">
              <a:extLst>
                <a:ext uri="{FF2B5EF4-FFF2-40B4-BE49-F238E27FC236}">
                  <a16:creationId xmlns:a16="http://schemas.microsoft.com/office/drawing/2014/main" id="{E1283D3C-B66C-6B5A-1128-1CF964F11621}"/>
                </a:ext>
              </a:extLst>
            </p:cNvPr>
            <p:cNvSpPr/>
            <p:nvPr/>
          </p:nvSpPr>
          <p:spPr>
            <a:xfrm>
              <a:off x="3227517" y="281461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931">
              <a:extLst>
                <a:ext uri="{FF2B5EF4-FFF2-40B4-BE49-F238E27FC236}">
                  <a16:creationId xmlns:a16="http://schemas.microsoft.com/office/drawing/2014/main" id="{AFF6FF01-C0AE-1537-88D7-6B16BB5F6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1175" y="2936114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D02B4BF8-3DC9-444E-BA72-3FEBB4A87546}"/>
              </a:ext>
            </a:extLst>
          </p:cNvPr>
          <p:cNvGrpSpPr/>
          <p:nvPr/>
        </p:nvGrpSpPr>
        <p:grpSpPr>
          <a:xfrm>
            <a:off x="1669640" y="5869004"/>
            <a:ext cx="337232" cy="337232"/>
            <a:chOff x="3227517" y="2814612"/>
            <a:chExt cx="457200" cy="457200"/>
          </a:xfrm>
        </p:grpSpPr>
        <p:sp>
          <p:nvSpPr>
            <p:cNvPr id="41" name="Oval 32">
              <a:extLst>
                <a:ext uri="{FF2B5EF4-FFF2-40B4-BE49-F238E27FC236}">
                  <a16:creationId xmlns:a16="http://schemas.microsoft.com/office/drawing/2014/main" id="{F96C3348-BB38-4570-980C-586B443004E2}"/>
                </a:ext>
              </a:extLst>
            </p:cNvPr>
            <p:cNvSpPr/>
            <p:nvPr/>
          </p:nvSpPr>
          <p:spPr>
            <a:xfrm>
              <a:off x="3227517" y="281461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931">
              <a:extLst>
                <a:ext uri="{FF2B5EF4-FFF2-40B4-BE49-F238E27FC236}">
                  <a16:creationId xmlns:a16="http://schemas.microsoft.com/office/drawing/2014/main" id="{ED15B40C-99D6-41F9-98FA-1EC5595576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1175" y="2936114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757664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">
            <a:extLst>
              <a:ext uri="{FF2B5EF4-FFF2-40B4-BE49-F238E27FC236}">
                <a16:creationId xmlns:a16="http://schemas.microsoft.com/office/drawing/2014/main" id="{4D2C8A15-5D80-4AD6-BA8E-CF88A5866572}"/>
              </a:ext>
            </a:extLst>
          </p:cNvPr>
          <p:cNvSpPr/>
          <p:nvPr/>
        </p:nvSpPr>
        <p:spPr>
          <a:xfrm>
            <a:off x="461727" y="1980810"/>
            <a:ext cx="11045777" cy="3068710"/>
          </a:xfrm>
          <a:prstGeom prst="rect">
            <a:avLst/>
          </a:prstGeom>
          <a:noFill/>
          <a:ln w="28575">
            <a:solidFill>
              <a:srgbClr val="18AC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6">
            <a:extLst>
              <a:ext uri="{FF2B5EF4-FFF2-40B4-BE49-F238E27FC236}">
                <a16:creationId xmlns:a16="http://schemas.microsoft.com/office/drawing/2014/main" id="{CD9BA58D-DC3C-404D-B4B4-4E45262F15BE}"/>
              </a:ext>
            </a:extLst>
          </p:cNvPr>
          <p:cNvSpPr/>
          <p:nvPr/>
        </p:nvSpPr>
        <p:spPr>
          <a:xfrm>
            <a:off x="3957291" y="0"/>
            <a:ext cx="4267200" cy="6858000"/>
          </a:xfrm>
          <a:prstGeom prst="rect">
            <a:avLst/>
          </a:prstGeom>
          <a:solidFill>
            <a:srgbClr val="1C62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56"/>
          <a:stretch>
            <a:fillRect/>
          </a:stretch>
        </p:blipFill>
        <p:spPr bwMode="auto">
          <a:xfrm rot="5400000">
            <a:off x="1180929" y="3228580"/>
            <a:ext cx="5572297" cy="400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31">
            <a:extLst>
              <a:ext uri="{FF2B5EF4-FFF2-40B4-BE49-F238E27FC236}">
                <a16:creationId xmlns:a16="http://schemas.microsoft.com/office/drawing/2014/main" id="{1EA1EEF6-330F-4C5D-A6AC-54B541A98081}"/>
              </a:ext>
            </a:extLst>
          </p:cNvPr>
          <p:cNvGrpSpPr/>
          <p:nvPr/>
        </p:nvGrpSpPr>
        <p:grpSpPr>
          <a:xfrm>
            <a:off x="8818696" y="4913412"/>
            <a:ext cx="427751" cy="272215"/>
            <a:chOff x="4411405" y="1607745"/>
            <a:chExt cx="520434" cy="272215"/>
          </a:xfrm>
          <a:solidFill>
            <a:srgbClr val="1AB239"/>
          </a:solidFill>
        </p:grpSpPr>
        <p:sp>
          <p:nvSpPr>
            <p:cNvPr id="10" name="Graphic 167">
              <a:extLst>
                <a:ext uri="{FF2B5EF4-FFF2-40B4-BE49-F238E27FC236}">
                  <a16:creationId xmlns:a16="http://schemas.microsoft.com/office/drawing/2014/main" id="{D11C4DA6-A09B-456C-BA8A-03B840AA5D99}"/>
                </a:ext>
              </a:extLst>
            </p:cNvPr>
            <p:cNvSpPr/>
            <p:nvPr/>
          </p:nvSpPr>
          <p:spPr>
            <a:xfrm rot="5400000">
              <a:off x="4674366" y="1622488"/>
              <a:ext cx="272215" cy="242730"/>
            </a:xfrm>
            <a:custGeom>
              <a:avLst/>
              <a:gdLst>
                <a:gd name="connsiteX0" fmla="*/ 2219216 w 3781425"/>
                <a:gd name="connsiteY0" fmla="*/ 189309 h 3371850"/>
                <a:gd name="connsiteX1" fmla="*/ 3731786 w 3781425"/>
                <a:gd name="connsiteY1" fmla="*/ 2808684 h 3371850"/>
                <a:gd name="connsiteX2" fmla="*/ 3404126 w 3781425"/>
                <a:gd name="connsiteY2" fmla="*/ 3376375 h 3371850"/>
                <a:gd name="connsiteX3" fmla="*/ 378986 w 3781425"/>
                <a:gd name="connsiteY3" fmla="*/ 3376375 h 3371850"/>
                <a:gd name="connsiteX4" fmla="*/ 51326 w 3781425"/>
                <a:gd name="connsiteY4" fmla="*/ 2808684 h 3371850"/>
                <a:gd name="connsiteX5" fmla="*/ 1563896 w 3781425"/>
                <a:gd name="connsiteY5" fmla="*/ 189309 h 3371850"/>
                <a:gd name="connsiteX6" fmla="*/ 2219216 w 3781425"/>
                <a:gd name="connsiteY6" fmla="*/ 189309 h 337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1425" h="3371850">
                  <a:moveTo>
                    <a:pt x="2219216" y="189309"/>
                  </a:moveTo>
                  <a:lnTo>
                    <a:pt x="3731786" y="2808684"/>
                  </a:lnTo>
                  <a:cubicBezTo>
                    <a:pt x="3877519" y="3061097"/>
                    <a:pt x="3695591" y="3376375"/>
                    <a:pt x="3404126" y="3376375"/>
                  </a:cubicBezTo>
                  <a:lnTo>
                    <a:pt x="378986" y="3376375"/>
                  </a:lnTo>
                  <a:cubicBezTo>
                    <a:pt x="87521" y="3376375"/>
                    <a:pt x="-94407" y="3061097"/>
                    <a:pt x="51326" y="2808684"/>
                  </a:cubicBezTo>
                  <a:lnTo>
                    <a:pt x="1563896" y="189309"/>
                  </a:lnTo>
                  <a:cubicBezTo>
                    <a:pt x="1710581" y="-63103"/>
                    <a:pt x="2074436" y="-63103"/>
                    <a:pt x="2219216" y="1893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Graphic 167">
              <a:extLst>
                <a:ext uri="{FF2B5EF4-FFF2-40B4-BE49-F238E27FC236}">
                  <a16:creationId xmlns:a16="http://schemas.microsoft.com/office/drawing/2014/main" id="{53BDDF16-223B-4370-B787-D6EA21AE8BC3}"/>
                </a:ext>
              </a:extLst>
            </p:cNvPr>
            <p:cNvSpPr/>
            <p:nvPr/>
          </p:nvSpPr>
          <p:spPr>
            <a:xfrm rot="5400000">
              <a:off x="4396662" y="1622488"/>
              <a:ext cx="272215" cy="242730"/>
            </a:xfrm>
            <a:custGeom>
              <a:avLst/>
              <a:gdLst>
                <a:gd name="connsiteX0" fmla="*/ 2219216 w 3781425"/>
                <a:gd name="connsiteY0" fmla="*/ 189309 h 3371850"/>
                <a:gd name="connsiteX1" fmla="*/ 3731786 w 3781425"/>
                <a:gd name="connsiteY1" fmla="*/ 2808684 h 3371850"/>
                <a:gd name="connsiteX2" fmla="*/ 3404126 w 3781425"/>
                <a:gd name="connsiteY2" fmla="*/ 3376375 h 3371850"/>
                <a:gd name="connsiteX3" fmla="*/ 378986 w 3781425"/>
                <a:gd name="connsiteY3" fmla="*/ 3376375 h 3371850"/>
                <a:gd name="connsiteX4" fmla="*/ 51326 w 3781425"/>
                <a:gd name="connsiteY4" fmla="*/ 2808684 h 3371850"/>
                <a:gd name="connsiteX5" fmla="*/ 1563896 w 3781425"/>
                <a:gd name="connsiteY5" fmla="*/ 189309 h 3371850"/>
                <a:gd name="connsiteX6" fmla="*/ 2219216 w 3781425"/>
                <a:gd name="connsiteY6" fmla="*/ 189309 h 337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1425" h="3371850">
                  <a:moveTo>
                    <a:pt x="2219216" y="189309"/>
                  </a:moveTo>
                  <a:lnTo>
                    <a:pt x="3731786" y="2808684"/>
                  </a:lnTo>
                  <a:cubicBezTo>
                    <a:pt x="3877519" y="3061097"/>
                    <a:pt x="3695591" y="3376375"/>
                    <a:pt x="3404126" y="3376375"/>
                  </a:cubicBezTo>
                  <a:lnTo>
                    <a:pt x="378986" y="3376375"/>
                  </a:lnTo>
                  <a:cubicBezTo>
                    <a:pt x="87521" y="3376375"/>
                    <a:pt x="-94407" y="3061097"/>
                    <a:pt x="51326" y="2808684"/>
                  </a:cubicBezTo>
                  <a:lnTo>
                    <a:pt x="1563896" y="189309"/>
                  </a:lnTo>
                  <a:cubicBezTo>
                    <a:pt x="1710581" y="-63103"/>
                    <a:pt x="2074436" y="-63103"/>
                    <a:pt x="2219216" y="1893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4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56"/>
          <a:stretch>
            <a:fillRect/>
          </a:stretch>
        </p:blipFill>
        <p:spPr bwMode="auto">
          <a:xfrm rot="16200000" flipH="1">
            <a:off x="5425787" y="3228580"/>
            <a:ext cx="5572297" cy="400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Группа 14"/>
          <p:cNvGrpSpPr/>
          <p:nvPr/>
        </p:nvGrpSpPr>
        <p:grpSpPr>
          <a:xfrm>
            <a:off x="3957291" y="1259175"/>
            <a:ext cx="4025478" cy="3693319"/>
            <a:chOff x="3957291" y="1540501"/>
            <a:chExt cx="4025478" cy="3693319"/>
          </a:xfrm>
        </p:grpSpPr>
        <p:sp>
          <p:nvSpPr>
            <p:cNvPr id="2" name="Прямоугольник 1"/>
            <p:cNvSpPr/>
            <p:nvPr/>
          </p:nvSpPr>
          <p:spPr>
            <a:xfrm>
              <a:off x="3957291" y="1540501"/>
              <a:ext cx="4025478" cy="36933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униципальное автономное </a:t>
              </a:r>
              <a:r>
                <a:rPr lang="ru-RU" sz="1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щеобразовательное учреждение</a:t>
              </a:r>
            </a:p>
            <a:p>
              <a:pPr algn="ctr"/>
              <a:r>
                <a:rPr lang="ru-RU" sz="2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аснопутьская</a:t>
              </a:r>
            </a:p>
            <a:p>
              <a:pPr algn="ctr"/>
              <a:r>
                <a:rPr lang="ru-RU" sz="2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едняя общеобразовательная школа</a:t>
              </a:r>
            </a:p>
            <a:p>
              <a:pPr>
                <a:tabLst>
                  <a:tab pos="0" algn="l"/>
                </a:tabLst>
              </a:pPr>
              <a:endPara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tabLst>
                  <a:tab pos="0" algn="l"/>
                </a:tabLst>
              </a:pPr>
              <a:r>
                <a:rPr lang="ru-RU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2033, Московская область,</a:t>
              </a:r>
            </a:p>
            <a:p>
              <a:pPr algn="ctr">
                <a:tabLst>
                  <a:tab pos="0" algn="l"/>
                </a:tabLst>
              </a:pPr>
              <a:r>
                <a:rPr lang="ru-RU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омодедово, </a:t>
              </a:r>
              <a:r>
                <a:rPr lang="ru-RU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.Красный</a:t>
              </a:r>
              <a:r>
                <a:rPr lang="ru-RU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уть,</a:t>
              </a:r>
            </a:p>
            <a:p>
              <a:pPr algn="ctr">
                <a:tabLst>
                  <a:tab pos="0" algn="l"/>
                </a:tabLst>
              </a:pPr>
              <a:r>
                <a:rPr lang="ru-RU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Школьная, стр.1</a:t>
              </a:r>
            </a:p>
            <a:p>
              <a:pPr algn="ctr">
                <a:tabLst>
                  <a:tab pos="0" algn="l"/>
                </a:tabLst>
              </a:pPr>
              <a:r>
                <a:rPr lang="ru-RU" sz="2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+7(496)796-52-52</a:t>
              </a:r>
              <a:endPara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endParaRPr>
            </a:p>
            <a:p>
              <a:pPr algn="ctr">
                <a:tabLst>
                  <a:tab pos="0" algn="l"/>
                </a:tabLst>
              </a:pP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hlinkClick r:id="rId4"/>
                </a:rPr>
                <a:t>https://domodkrsch.edumsko.ru</a:t>
              </a:r>
              <a:endPara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tabLst>
                  <a:tab pos="0" algn="l"/>
                </a:tabLst>
              </a:pP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mdd_krasnopsosh@mosreg.ru</a:t>
              </a:r>
            </a:p>
          </p:txBody>
        </p:sp>
        <p:pic>
          <p:nvPicPr>
            <p:cNvPr id="31" name="Рисунок 30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87085" y="3204025"/>
              <a:ext cx="1207612" cy="622279"/>
            </a:xfrm>
            <a:prstGeom prst="rect">
              <a:avLst/>
            </a:prstGeom>
          </p:spPr>
        </p:pic>
      </p:grpSp>
      <p:grpSp>
        <p:nvGrpSpPr>
          <p:cNvPr id="35" name="Group 31">
            <a:extLst>
              <a:ext uri="{FF2B5EF4-FFF2-40B4-BE49-F238E27FC236}">
                <a16:creationId xmlns:a16="http://schemas.microsoft.com/office/drawing/2014/main" id="{1EA1EEF6-330F-4C5D-A6AC-54B541A98081}"/>
              </a:ext>
            </a:extLst>
          </p:cNvPr>
          <p:cNvGrpSpPr/>
          <p:nvPr/>
        </p:nvGrpSpPr>
        <p:grpSpPr>
          <a:xfrm flipH="1">
            <a:off x="1474293" y="1844427"/>
            <a:ext cx="427751" cy="272215"/>
            <a:chOff x="4411405" y="1607745"/>
            <a:chExt cx="520434" cy="272215"/>
          </a:xfrm>
          <a:solidFill>
            <a:srgbClr val="1AB239"/>
          </a:solidFill>
        </p:grpSpPr>
        <p:sp>
          <p:nvSpPr>
            <p:cNvPr id="36" name="Graphic 167">
              <a:extLst>
                <a:ext uri="{FF2B5EF4-FFF2-40B4-BE49-F238E27FC236}">
                  <a16:creationId xmlns:a16="http://schemas.microsoft.com/office/drawing/2014/main" id="{D11C4DA6-A09B-456C-BA8A-03B840AA5D99}"/>
                </a:ext>
              </a:extLst>
            </p:cNvPr>
            <p:cNvSpPr/>
            <p:nvPr/>
          </p:nvSpPr>
          <p:spPr>
            <a:xfrm rot="5400000">
              <a:off x="4674366" y="1622488"/>
              <a:ext cx="272215" cy="242730"/>
            </a:xfrm>
            <a:custGeom>
              <a:avLst/>
              <a:gdLst>
                <a:gd name="connsiteX0" fmla="*/ 2219216 w 3781425"/>
                <a:gd name="connsiteY0" fmla="*/ 189309 h 3371850"/>
                <a:gd name="connsiteX1" fmla="*/ 3731786 w 3781425"/>
                <a:gd name="connsiteY1" fmla="*/ 2808684 h 3371850"/>
                <a:gd name="connsiteX2" fmla="*/ 3404126 w 3781425"/>
                <a:gd name="connsiteY2" fmla="*/ 3376375 h 3371850"/>
                <a:gd name="connsiteX3" fmla="*/ 378986 w 3781425"/>
                <a:gd name="connsiteY3" fmla="*/ 3376375 h 3371850"/>
                <a:gd name="connsiteX4" fmla="*/ 51326 w 3781425"/>
                <a:gd name="connsiteY4" fmla="*/ 2808684 h 3371850"/>
                <a:gd name="connsiteX5" fmla="*/ 1563896 w 3781425"/>
                <a:gd name="connsiteY5" fmla="*/ 189309 h 3371850"/>
                <a:gd name="connsiteX6" fmla="*/ 2219216 w 3781425"/>
                <a:gd name="connsiteY6" fmla="*/ 189309 h 337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1425" h="3371850">
                  <a:moveTo>
                    <a:pt x="2219216" y="189309"/>
                  </a:moveTo>
                  <a:lnTo>
                    <a:pt x="3731786" y="2808684"/>
                  </a:lnTo>
                  <a:cubicBezTo>
                    <a:pt x="3877519" y="3061097"/>
                    <a:pt x="3695591" y="3376375"/>
                    <a:pt x="3404126" y="3376375"/>
                  </a:cubicBezTo>
                  <a:lnTo>
                    <a:pt x="378986" y="3376375"/>
                  </a:lnTo>
                  <a:cubicBezTo>
                    <a:pt x="87521" y="3376375"/>
                    <a:pt x="-94407" y="3061097"/>
                    <a:pt x="51326" y="2808684"/>
                  </a:cubicBezTo>
                  <a:lnTo>
                    <a:pt x="1563896" y="189309"/>
                  </a:lnTo>
                  <a:cubicBezTo>
                    <a:pt x="1710581" y="-63103"/>
                    <a:pt x="2074436" y="-63103"/>
                    <a:pt x="2219216" y="1893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Graphic 167">
              <a:extLst>
                <a:ext uri="{FF2B5EF4-FFF2-40B4-BE49-F238E27FC236}">
                  <a16:creationId xmlns:a16="http://schemas.microsoft.com/office/drawing/2014/main" id="{53BDDF16-223B-4370-B787-D6EA21AE8BC3}"/>
                </a:ext>
              </a:extLst>
            </p:cNvPr>
            <p:cNvSpPr/>
            <p:nvPr/>
          </p:nvSpPr>
          <p:spPr>
            <a:xfrm rot="5400000">
              <a:off x="4396662" y="1622488"/>
              <a:ext cx="272215" cy="242730"/>
            </a:xfrm>
            <a:custGeom>
              <a:avLst/>
              <a:gdLst>
                <a:gd name="connsiteX0" fmla="*/ 2219216 w 3781425"/>
                <a:gd name="connsiteY0" fmla="*/ 189309 h 3371850"/>
                <a:gd name="connsiteX1" fmla="*/ 3731786 w 3781425"/>
                <a:gd name="connsiteY1" fmla="*/ 2808684 h 3371850"/>
                <a:gd name="connsiteX2" fmla="*/ 3404126 w 3781425"/>
                <a:gd name="connsiteY2" fmla="*/ 3376375 h 3371850"/>
                <a:gd name="connsiteX3" fmla="*/ 378986 w 3781425"/>
                <a:gd name="connsiteY3" fmla="*/ 3376375 h 3371850"/>
                <a:gd name="connsiteX4" fmla="*/ 51326 w 3781425"/>
                <a:gd name="connsiteY4" fmla="*/ 2808684 h 3371850"/>
                <a:gd name="connsiteX5" fmla="*/ 1563896 w 3781425"/>
                <a:gd name="connsiteY5" fmla="*/ 189309 h 3371850"/>
                <a:gd name="connsiteX6" fmla="*/ 2219216 w 3781425"/>
                <a:gd name="connsiteY6" fmla="*/ 189309 h 337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1425" h="3371850">
                  <a:moveTo>
                    <a:pt x="2219216" y="189309"/>
                  </a:moveTo>
                  <a:lnTo>
                    <a:pt x="3731786" y="2808684"/>
                  </a:lnTo>
                  <a:cubicBezTo>
                    <a:pt x="3877519" y="3061097"/>
                    <a:pt x="3695591" y="3376375"/>
                    <a:pt x="3404126" y="3376375"/>
                  </a:cubicBezTo>
                  <a:lnTo>
                    <a:pt x="378986" y="3376375"/>
                  </a:lnTo>
                  <a:cubicBezTo>
                    <a:pt x="87521" y="3376375"/>
                    <a:pt x="-94407" y="3061097"/>
                    <a:pt x="51326" y="2808684"/>
                  </a:cubicBezTo>
                  <a:lnTo>
                    <a:pt x="1563896" y="189309"/>
                  </a:lnTo>
                  <a:cubicBezTo>
                    <a:pt x="1710581" y="-63103"/>
                    <a:pt x="2074436" y="-63103"/>
                    <a:pt x="2219216" y="1893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7" name="Picture 2" descr="https://sun9-80.userapi.com/impf/c852124/v852124117/11235e/spR2Be1v4-0.jpg?size=266x200&amp;quality=96&amp;sign=ee8cf330cf5d93daa4d51b682374da61&amp;type=album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268" y="2261222"/>
            <a:ext cx="3174389" cy="2386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14402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/>
          <p:cNvGrpSpPr/>
          <p:nvPr/>
        </p:nvGrpSpPr>
        <p:grpSpPr>
          <a:xfrm>
            <a:off x="986541" y="4958266"/>
            <a:ext cx="2514600" cy="1447800"/>
            <a:chOff x="2566" y="4783810"/>
            <a:chExt cx="2514600" cy="1447800"/>
          </a:xfrm>
        </p:grpSpPr>
        <p:sp>
          <p:nvSpPr>
            <p:cNvPr id="89" name="Rectangle 26">
              <a:extLst>
                <a:ext uri="{FF2B5EF4-FFF2-40B4-BE49-F238E27FC236}">
                  <a16:creationId xmlns:a16="http://schemas.microsoft.com/office/drawing/2014/main" id="{E24B7E4D-F68D-4A02-B9A8-46959FBD33AD}"/>
                </a:ext>
              </a:extLst>
            </p:cNvPr>
            <p:cNvSpPr/>
            <p:nvPr/>
          </p:nvSpPr>
          <p:spPr>
            <a:xfrm>
              <a:off x="2566" y="5021935"/>
              <a:ext cx="2514600" cy="120967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Rectangle 27">
              <a:extLst>
                <a:ext uri="{FF2B5EF4-FFF2-40B4-BE49-F238E27FC236}">
                  <a16:creationId xmlns:a16="http://schemas.microsoft.com/office/drawing/2014/main" id="{F780503E-408E-4789-8C5C-642413172613}"/>
                </a:ext>
              </a:extLst>
            </p:cNvPr>
            <p:cNvSpPr/>
            <p:nvPr/>
          </p:nvSpPr>
          <p:spPr>
            <a:xfrm>
              <a:off x="228173" y="4783810"/>
              <a:ext cx="2063387" cy="492443"/>
            </a:xfrm>
            <a:prstGeom prst="rect">
              <a:avLst/>
            </a:prstGeom>
            <a:pattFill prst="pct25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Веснушка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Right Triangle 34">
              <a:extLst>
                <a:ext uri="{FF2B5EF4-FFF2-40B4-BE49-F238E27FC236}">
                  <a16:creationId xmlns:a16="http://schemas.microsoft.com/office/drawing/2014/main" id="{B04EBF7D-1191-430C-83C1-2B61F94312CA}"/>
                </a:ext>
              </a:extLst>
            </p:cNvPr>
            <p:cNvSpPr/>
            <p:nvPr/>
          </p:nvSpPr>
          <p:spPr>
            <a:xfrm flipH="1">
              <a:off x="116865" y="4783810"/>
              <a:ext cx="111306" cy="238125"/>
            </a:xfrm>
            <a:prstGeom prst="rt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Right Triangle 53">
              <a:extLst>
                <a:ext uri="{FF2B5EF4-FFF2-40B4-BE49-F238E27FC236}">
                  <a16:creationId xmlns:a16="http://schemas.microsoft.com/office/drawing/2014/main" id="{C09A191A-2CAA-40F7-8BAA-C0A5D918FAB6}"/>
                </a:ext>
              </a:extLst>
            </p:cNvPr>
            <p:cNvSpPr/>
            <p:nvPr/>
          </p:nvSpPr>
          <p:spPr>
            <a:xfrm>
              <a:off x="2291560" y="4783810"/>
              <a:ext cx="111306" cy="238125"/>
            </a:xfrm>
            <a:prstGeom prst="rt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2589446" y="215407"/>
            <a:ext cx="2514600" cy="1447800"/>
            <a:chOff x="2428672" y="302475"/>
            <a:chExt cx="2514600" cy="1447800"/>
          </a:xfrm>
        </p:grpSpPr>
        <p:sp>
          <p:nvSpPr>
            <p:cNvPr id="3" name="Rectangle 26">
              <a:extLst>
                <a:ext uri="{FF2B5EF4-FFF2-40B4-BE49-F238E27FC236}">
                  <a16:creationId xmlns:a16="http://schemas.microsoft.com/office/drawing/2014/main" id="{BFC0F38B-F03B-FA10-CAA2-302AA61EC1D1}"/>
                </a:ext>
              </a:extLst>
            </p:cNvPr>
            <p:cNvSpPr/>
            <p:nvPr/>
          </p:nvSpPr>
          <p:spPr>
            <a:xfrm>
              <a:off x="2428672" y="540600"/>
              <a:ext cx="2514600" cy="120967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Rectangle 27">
              <a:extLst>
                <a:ext uri="{FF2B5EF4-FFF2-40B4-BE49-F238E27FC236}">
                  <a16:creationId xmlns:a16="http://schemas.microsoft.com/office/drawing/2014/main" id="{5A7459F0-CC01-BAD1-93F8-ACF0D185BBE9}"/>
                </a:ext>
              </a:extLst>
            </p:cNvPr>
            <p:cNvSpPr/>
            <p:nvPr/>
          </p:nvSpPr>
          <p:spPr>
            <a:xfrm>
              <a:off x="2654279" y="302475"/>
              <a:ext cx="2063387" cy="492443"/>
            </a:xfrm>
            <a:prstGeom prst="rect">
              <a:avLst/>
            </a:prstGeom>
            <a:pattFill prst="pct25">
              <a:fgClr>
                <a:schemeClr val="accent1">
                  <a:lumMod val="60000"/>
                  <a:lumOff val="40000"/>
                </a:schemeClr>
              </a:fgClr>
              <a:bgClr>
                <a:schemeClr val="accent1">
                  <a:lumMod val="75000"/>
                </a:schemeClr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Здание 1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Right Triangle 34">
              <a:extLst>
                <a:ext uri="{FF2B5EF4-FFF2-40B4-BE49-F238E27FC236}">
                  <a16:creationId xmlns:a16="http://schemas.microsoft.com/office/drawing/2014/main" id="{725C4B09-2F78-167B-BD1B-8D929175D2FA}"/>
                </a:ext>
              </a:extLst>
            </p:cNvPr>
            <p:cNvSpPr/>
            <p:nvPr/>
          </p:nvSpPr>
          <p:spPr>
            <a:xfrm flipH="1">
              <a:off x="2542971" y="302475"/>
              <a:ext cx="111306" cy="238125"/>
            </a:xfrm>
            <a:prstGeom prst="rt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ight Triangle 53">
              <a:extLst>
                <a:ext uri="{FF2B5EF4-FFF2-40B4-BE49-F238E27FC236}">
                  <a16:creationId xmlns:a16="http://schemas.microsoft.com/office/drawing/2014/main" id="{5BDC6470-1DBE-C64A-C4A7-88AA3EB95ABB}"/>
                </a:ext>
              </a:extLst>
            </p:cNvPr>
            <p:cNvSpPr/>
            <p:nvPr/>
          </p:nvSpPr>
          <p:spPr>
            <a:xfrm>
              <a:off x="4717666" y="302475"/>
              <a:ext cx="111306" cy="238125"/>
            </a:xfrm>
            <a:prstGeom prst="rt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3" name="Прямоугольник 72"/>
          <p:cNvSpPr/>
          <p:nvPr/>
        </p:nvSpPr>
        <p:spPr>
          <a:xfrm>
            <a:off x="1759756" y="5524826"/>
            <a:ext cx="179514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г.Домодедово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с. Красный Путь, Гвардейская, стр.21 </a:t>
            </a:r>
          </a:p>
        </p:txBody>
      </p:sp>
      <p:sp>
        <p:nvSpPr>
          <p:cNvPr id="26" name="Parallelogram 24">
            <a:extLst>
              <a:ext uri="{FF2B5EF4-FFF2-40B4-BE49-F238E27FC236}">
                <a16:creationId xmlns:a16="http://schemas.microsoft.com/office/drawing/2014/main" id="{6E0AC06B-A14B-4B16-9748-05FB84B82B26}"/>
              </a:ext>
            </a:extLst>
          </p:cNvPr>
          <p:cNvSpPr/>
          <p:nvPr/>
        </p:nvSpPr>
        <p:spPr>
          <a:xfrm flipV="1">
            <a:off x="6246702" y="2363872"/>
            <a:ext cx="1402949" cy="1486740"/>
          </a:xfrm>
          <a:custGeom>
            <a:avLst/>
            <a:gdLst>
              <a:gd name="connsiteX0" fmla="*/ 0 w 1318811"/>
              <a:gd name="connsiteY0" fmla="*/ 1876427 h 1876427"/>
              <a:gd name="connsiteX1" fmla="*/ 240353 w 1318811"/>
              <a:gd name="connsiteY1" fmla="*/ 0 h 1876427"/>
              <a:gd name="connsiteX2" fmla="*/ 1318811 w 1318811"/>
              <a:gd name="connsiteY2" fmla="*/ 0 h 1876427"/>
              <a:gd name="connsiteX3" fmla="*/ 1078458 w 1318811"/>
              <a:gd name="connsiteY3" fmla="*/ 1876427 h 1876427"/>
              <a:gd name="connsiteX4" fmla="*/ 0 w 1318811"/>
              <a:gd name="connsiteY4" fmla="*/ 1876427 h 1876427"/>
              <a:gd name="connsiteX0" fmla="*/ 0 w 1318811"/>
              <a:gd name="connsiteY0" fmla="*/ 1895477 h 1895477"/>
              <a:gd name="connsiteX1" fmla="*/ 1097603 w 1318811"/>
              <a:gd name="connsiteY1" fmla="*/ 0 h 1895477"/>
              <a:gd name="connsiteX2" fmla="*/ 1318811 w 1318811"/>
              <a:gd name="connsiteY2" fmla="*/ 19050 h 1895477"/>
              <a:gd name="connsiteX3" fmla="*/ 1078458 w 1318811"/>
              <a:gd name="connsiteY3" fmla="*/ 1895477 h 1895477"/>
              <a:gd name="connsiteX4" fmla="*/ 0 w 1318811"/>
              <a:gd name="connsiteY4" fmla="*/ 1895477 h 1895477"/>
              <a:gd name="connsiteX0" fmla="*/ 0 w 1318811"/>
              <a:gd name="connsiteY0" fmla="*/ 1876427 h 1876427"/>
              <a:gd name="connsiteX1" fmla="*/ 1084903 w 1318811"/>
              <a:gd name="connsiteY1" fmla="*/ 0 h 1876427"/>
              <a:gd name="connsiteX2" fmla="*/ 1318811 w 1318811"/>
              <a:gd name="connsiteY2" fmla="*/ 0 h 1876427"/>
              <a:gd name="connsiteX3" fmla="*/ 1078458 w 1318811"/>
              <a:gd name="connsiteY3" fmla="*/ 1876427 h 1876427"/>
              <a:gd name="connsiteX4" fmla="*/ 0 w 1318811"/>
              <a:gd name="connsiteY4" fmla="*/ 1876427 h 1876427"/>
              <a:gd name="connsiteX0" fmla="*/ 0 w 1331511"/>
              <a:gd name="connsiteY0" fmla="*/ 1876427 h 1876427"/>
              <a:gd name="connsiteX1" fmla="*/ 1084903 w 1331511"/>
              <a:gd name="connsiteY1" fmla="*/ 0 h 1876427"/>
              <a:gd name="connsiteX2" fmla="*/ 1331511 w 1331511"/>
              <a:gd name="connsiteY2" fmla="*/ 984250 h 1876427"/>
              <a:gd name="connsiteX3" fmla="*/ 1078458 w 1331511"/>
              <a:gd name="connsiteY3" fmla="*/ 1876427 h 1876427"/>
              <a:gd name="connsiteX4" fmla="*/ 0 w 1331511"/>
              <a:gd name="connsiteY4" fmla="*/ 1876427 h 1876427"/>
              <a:gd name="connsiteX0" fmla="*/ 0 w 1388661"/>
              <a:gd name="connsiteY0" fmla="*/ 1876427 h 1876427"/>
              <a:gd name="connsiteX1" fmla="*/ 1084903 w 1388661"/>
              <a:gd name="connsiteY1" fmla="*/ 0 h 1876427"/>
              <a:gd name="connsiteX2" fmla="*/ 1388661 w 1388661"/>
              <a:gd name="connsiteY2" fmla="*/ 1217612 h 1876427"/>
              <a:gd name="connsiteX3" fmla="*/ 1078458 w 1388661"/>
              <a:gd name="connsiteY3" fmla="*/ 1876427 h 1876427"/>
              <a:gd name="connsiteX4" fmla="*/ 0 w 1388661"/>
              <a:gd name="connsiteY4" fmla="*/ 1876427 h 1876427"/>
              <a:gd name="connsiteX0" fmla="*/ 0 w 1402949"/>
              <a:gd name="connsiteY0" fmla="*/ 1876427 h 1876427"/>
              <a:gd name="connsiteX1" fmla="*/ 1084903 w 1402949"/>
              <a:gd name="connsiteY1" fmla="*/ 0 h 1876427"/>
              <a:gd name="connsiteX2" fmla="*/ 1402949 w 1402949"/>
              <a:gd name="connsiteY2" fmla="*/ 1298575 h 1876427"/>
              <a:gd name="connsiteX3" fmla="*/ 1078458 w 1402949"/>
              <a:gd name="connsiteY3" fmla="*/ 1876427 h 1876427"/>
              <a:gd name="connsiteX4" fmla="*/ 0 w 1402949"/>
              <a:gd name="connsiteY4" fmla="*/ 1876427 h 1876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949" h="1876427">
                <a:moveTo>
                  <a:pt x="0" y="1876427"/>
                </a:moveTo>
                <a:lnTo>
                  <a:pt x="1084903" y="0"/>
                </a:lnTo>
                <a:lnTo>
                  <a:pt x="1402949" y="1298575"/>
                </a:lnTo>
                <a:lnTo>
                  <a:pt x="1078458" y="1876427"/>
                </a:lnTo>
                <a:lnTo>
                  <a:pt x="0" y="1876427"/>
                </a:lnTo>
                <a:close/>
              </a:path>
            </a:pathLst>
          </a:custGeom>
          <a:solidFill>
            <a:schemeClr val="tx1">
              <a:lumMod val="95000"/>
              <a:lumOff val="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arallelogram 24">
            <a:extLst>
              <a:ext uri="{FF2B5EF4-FFF2-40B4-BE49-F238E27FC236}">
                <a16:creationId xmlns:a16="http://schemas.microsoft.com/office/drawing/2014/main" id="{9CC07652-569C-4857-9906-2D45AEB17165}"/>
              </a:ext>
            </a:extLst>
          </p:cNvPr>
          <p:cNvSpPr/>
          <p:nvPr/>
        </p:nvSpPr>
        <p:spPr>
          <a:xfrm flipV="1">
            <a:off x="3977278" y="2383794"/>
            <a:ext cx="1402949" cy="1876427"/>
          </a:xfrm>
          <a:custGeom>
            <a:avLst/>
            <a:gdLst>
              <a:gd name="connsiteX0" fmla="*/ 0 w 1318811"/>
              <a:gd name="connsiteY0" fmla="*/ 1876427 h 1876427"/>
              <a:gd name="connsiteX1" fmla="*/ 240353 w 1318811"/>
              <a:gd name="connsiteY1" fmla="*/ 0 h 1876427"/>
              <a:gd name="connsiteX2" fmla="*/ 1318811 w 1318811"/>
              <a:gd name="connsiteY2" fmla="*/ 0 h 1876427"/>
              <a:gd name="connsiteX3" fmla="*/ 1078458 w 1318811"/>
              <a:gd name="connsiteY3" fmla="*/ 1876427 h 1876427"/>
              <a:gd name="connsiteX4" fmla="*/ 0 w 1318811"/>
              <a:gd name="connsiteY4" fmla="*/ 1876427 h 1876427"/>
              <a:gd name="connsiteX0" fmla="*/ 0 w 1318811"/>
              <a:gd name="connsiteY0" fmla="*/ 1895477 h 1895477"/>
              <a:gd name="connsiteX1" fmla="*/ 1097603 w 1318811"/>
              <a:gd name="connsiteY1" fmla="*/ 0 h 1895477"/>
              <a:gd name="connsiteX2" fmla="*/ 1318811 w 1318811"/>
              <a:gd name="connsiteY2" fmla="*/ 19050 h 1895477"/>
              <a:gd name="connsiteX3" fmla="*/ 1078458 w 1318811"/>
              <a:gd name="connsiteY3" fmla="*/ 1895477 h 1895477"/>
              <a:gd name="connsiteX4" fmla="*/ 0 w 1318811"/>
              <a:gd name="connsiteY4" fmla="*/ 1895477 h 1895477"/>
              <a:gd name="connsiteX0" fmla="*/ 0 w 1318811"/>
              <a:gd name="connsiteY0" fmla="*/ 1876427 h 1876427"/>
              <a:gd name="connsiteX1" fmla="*/ 1084903 w 1318811"/>
              <a:gd name="connsiteY1" fmla="*/ 0 h 1876427"/>
              <a:gd name="connsiteX2" fmla="*/ 1318811 w 1318811"/>
              <a:gd name="connsiteY2" fmla="*/ 0 h 1876427"/>
              <a:gd name="connsiteX3" fmla="*/ 1078458 w 1318811"/>
              <a:gd name="connsiteY3" fmla="*/ 1876427 h 1876427"/>
              <a:gd name="connsiteX4" fmla="*/ 0 w 1318811"/>
              <a:gd name="connsiteY4" fmla="*/ 1876427 h 1876427"/>
              <a:gd name="connsiteX0" fmla="*/ 0 w 1331511"/>
              <a:gd name="connsiteY0" fmla="*/ 1876427 h 1876427"/>
              <a:gd name="connsiteX1" fmla="*/ 1084903 w 1331511"/>
              <a:gd name="connsiteY1" fmla="*/ 0 h 1876427"/>
              <a:gd name="connsiteX2" fmla="*/ 1331511 w 1331511"/>
              <a:gd name="connsiteY2" fmla="*/ 984250 h 1876427"/>
              <a:gd name="connsiteX3" fmla="*/ 1078458 w 1331511"/>
              <a:gd name="connsiteY3" fmla="*/ 1876427 h 1876427"/>
              <a:gd name="connsiteX4" fmla="*/ 0 w 1331511"/>
              <a:gd name="connsiteY4" fmla="*/ 1876427 h 1876427"/>
              <a:gd name="connsiteX0" fmla="*/ 0 w 1388661"/>
              <a:gd name="connsiteY0" fmla="*/ 1876427 h 1876427"/>
              <a:gd name="connsiteX1" fmla="*/ 1084903 w 1388661"/>
              <a:gd name="connsiteY1" fmla="*/ 0 h 1876427"/>
              <a:gd name="connsiteX2" fmla="*/ 1388661 w 1388661"/>
              <a:gd name="connsiteY2" fmla="*/ 1217612 h 1876427"/>
              <a:gd name="connsiteX3" fmla="*/ 1078458 w 1388661"/>
              <a:gd name="connsiteY3" fmla="*/ 1876427 h 1876427"/>
              <a:gd name="connsiteX4" fmla="*/ 0 w 1388661"/>
              <a:gd name="connsiteY4" fmla="*/ 1876427 h 1876427"/>
              <a:gd name="connsiteX0" fmla="*/ 0 w 1402949"/>
              <a:gd name="connsiteY0" fmla="*/ 1876427 h 1876427"/>
              <a:gd name="connsiteX1" fmla="*/ 1084903 w 1402949"/>
              <a:gd name="connsiteY1" fmla="*/ 0 h 1876427"/>
              <a:gd name="connsiteX2" fmla="*/ 1402949 w 1402949"/>
              <a:gd name="connsiteY2" fmla="*/ 1298575 h 1876427"/>
              <a:gd name="connsiteX3" fmla="*/ 1078458 w 1402949"/>
              <a:gd name="connsiteY3" fmla="*/ 1876427 h 1876427"/>
              <a:gd name="connsiteX4" fmla="*/ 0 w 1402949"/>
              <a:gd name="connsiteY4" fmla="*/ 1876427 h 1876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949" h="1876427">
                <a:moveTo>
                  <a:pt x="0" y="1876427"/>
                </a:moveTo>
                <a:lnTo>
                  <a:pt x="1084903" y="0"/>
                </a:lnTo>
                <a:lnTo>
                  <a:pt x="1402949" y="1298575"/>
                </a:lnTo>
                <a:lnTo>
                  <a:pt x="1078458" y="1876427"/>
                </a:lnTo>
                <a:lnTo>
                  <a:pt x="0" y="1876427"/>
                </a:lnTo>
                <a:close/>
              </a:path>
            </a:pathLst>
          </a:custGeom>
          <a:solidFill>
            <a:schemeClr val="tx1">
              <a:lumMod val="95000"/>
              <a:lumOff val="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Parallelogram 24">
            <a:extLst>
              <a:ext uri="{FF2B5EF4-FFF2-40B4-BE49-F238E27FC236}">
                <a16:creationId xmlns:a16="http://schemas.microsoft.com/office/drawing/2014/main" id="{5924F72D-E308-46BE-8410-E79B10FBF61F}"/>
              </a:ext>
            </a:extLst>
          </p:cNvPr>
          <p:cNvSpPr/>
          <p:nvPr/>
        </p:nvSpPr>
        <p:spPr>
          <a:xfrm flipV="1">
            <a:off x="2344693" y="2823479"/>
            <a:ext cx="1402949" cy="1393623"/>
          </a:xfrm>
          <a:custGeom>
            <a:avLst/>
            <a:gdLst>
              <a:gd name="connsiteX0" fmla="*/ 0 w 1318811"/>
              <a:gd name="connsiteY0" fmla="*/ 1876427 h 1876427"/>
              <a:gd name="connsiteX1" fmla="*/ 240353 w 1318811"/>
              <a:gd name="connsiteY1" fmla="*/ 0 h 1876427"/>
              <a:gd name="connsiteX2" fmla="*/ 1318811 w 1318811"/>
              <a:gd name="connsiteY2" fmla="*/ 0 h 1876427"/>
              <a:gd name="connsiteX3" fmla="*/ 1078458 w 1318811"/>
              <a:gd name="connsiteY3" fmla="*/ 1876427 h 1876427"/>
              <a:gd name="connsiteX4" fmla="*/ 0 w 1318811"/>
              <a:gd name="connsiteY4" fmla="*/ 1876427 h 1876427"/>
              <a:gd name="connsiteX0" fmla="*/ 0 w 1318811"/>
              <a:gd name="connsiteY0" fmla="*/ 1895477 h 1895477"/>
              <a:gd name="connsiteX1" fmla="*/ 1097603 w 1318811"/>
              <a:gd name="connsiteY1" fmla="*/ 0 h 1895477"/>
              <a:gd name="connsiteX2" fmla="*/ 1318811 w 1318811"/>
              <a:gd name="connsiteY2" fmla="*/ 19050 h 1895477"/>
              <a:gd name="connsiteX3" fmla="*/ 1078458 w 1318811"/>
              <a:gd name="connsiteY3" fmla="*/ 1895477 h 1895477"/>
              <a:gd name="connsiteX4" fmla="*/ 0 w 1318811"/>
              <a:gd name="connsiteY4" fmla="*/ 1895477 h 1895477"/>
              <a:gd name="connsiteX0" fmla="*/ 0 w 1318811"/>
              <a:gd name="connsiteY0" fmla="*/ 1876427 h 1876427"/>
              <a:gd name="connsiteX1" fmla="*/ 1084903 w 1318811"/>
              <a:gd name="connsiteY1" fmla="*/ 0 h 1876427"/>
              <a:gd name="connsiteX2" fmla="*/ 1318811 w 1318811"/>
              <a:gd name="connsiteY2" fmla="*/ 0 h 1876427"/>
              <a:gd name="connsiteX3" fmla="*/ 1078458 w 1318811"/>
              <a:gd name="connsiteY3" fmla="*/ 1876427 h 1876427"/>
              <a:gd name="connsiteX4" fmla="*/ 0 w 1318811"/>
              <a:gd name="connsiteY4" fmla="*/ 1876427 h 1876427"/>
              <a:gd name="connsiteX0" fmla="*/ 0 w 1331511"/>
              <a:gd name="connsiteY0" fmla="*/ 1876427 h 1876427"/>
              <a:gd name="connsiteX1" fmla="*/ 1084903 w 1331511"/>
              <a:gd name="connsiteY1" fmla="*/ 0 h 1876427"/>
              <a:gd name="connsiteX2" fmla="*/ 1331511 w 1331511"/>
              <a:gd name="connsiteY2" fmla="*/ 984250 h 1876427"/>
              <a:gd name="connsiteX3" fmla="*/ 1078458 w 1331511"/>
              <a:gd name="connsiteY3" fmla="*/ 1876427 h 1876427"/>
              <a:gd name="connsiteX4" fmla="*/ 0 w 1331511"/>
              <a:gd name="connsiteY4" fmla="*/ 1876427 h 1876427"/>
              <a:gd name="connsiteX0" fmla="*/ 0 w 1388661"/>
              <a:gd name="connsiteY0" fmla="*/ 1876427 h 1876427"/>
              <a:gd name="connsiteX1" fmla="*/ 1084903 w 1388661"/>
              <a:gd name="connsiteY1" fmla="*/ 0 h 1876427"/>
              <a:gd name="connsiteX2" fmla="*/ 1388661 w 1388661"/>
              <a:gd name="connsiteY2" fmla="*/ 1217612 h 1876427"/>
              <a:gd name="connsiteX3" fmla="*/ 1078458 w 1388661"/>
              <a:gd name="connsiteY3" fmla="*/ 1876427 h 1876427"/>
              <a:gd name="connsiteX4" fmla="*/ 0 w 1388661"/>
              <a:gd name="connsiteY4" fmla="*/ 1876427 h 1876427"/>
              <a:gd name="connsiteX0" fmla="*/ 0 w 1402949"/>
              <a:gd name="connsiteY0" fmla="*/ 1876427 h 1876427"/>
              <a:gd name="connsiteX1" fmla="*/ 1084903 w 1402949"/>
              <a:gd name="connsiteY1" fmla="*/ 0 h 1876427"/>
              <a:gd name="connsiteX2" fmla="*/ 1402949 w 1402949"/>
              <a:gd name="connsiteY2" fmla="*/ 1298575 h 1876427"/>
              <a:gd name="connsiteX3" fmla="*/ 1078458 w 1402949"/>
              <a:gd name="connsiteY3" fmla="*/ 1876427 h 1876427"/>
              <a:gd name="connsiteX4" fmla="*/ 0 w 1402949"/>
              <a:gd name="connsiteY4" fmla="*/ 1876427 h 1876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949" h="1876427">
                <a:moveTo>
                  <a:pt x="0" y="1876427"/>
                </a:moveTo>
                <a:lnTo>
                  <a:pt x="1084903" y="0"/>
                </a:lnTo>
                <a:lnTo>
                  <a:pt x="1402949" y="1298575"/>
                </a:lnTo>
                <a:lnTo>
                  <a:pt x="1078458" y="1876427"/>
                </a:lnTo>
                <a:lnTo>
                  <a:pt x="0" y="1876427"/>
                </a:lnTo>
                <a:close/>
              </a:path>
            </a:pathLst>
          </a:custGeom>
          <a:solidFill>
            <a:schemeClr val="tx1">
              <a:lumMod val="95000"/>
              <a:lumOff val="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">
            <a:extLst>
              <a:ext uri="{FF2B5EF4-FFF2-40B4-BE49-F238E27FC236}">
                <a16:creationId xmlns:a16="http://schemas.microsoft.com/office/drawing/2014/main" id="{25E35751-7742-4117-B330-E9E01E4617D1}"/>
              </a:ext>
            </a:extLst>
          </p:cNvPr>
          <p:cNvSpPr/>
          <p:nvPr/>
        </p:nvSpPr>
        <p:spPr>
          <a:xfrm>
            <a:off x="-9053" y="2672290"/>
            <a:ext cx="7668432" cy="1205481"/>
          </a:xfrm>
          <a:prstGeom prst="rect">
            <a:avLst/>
          </a:prstGeom>
          <a:pattFill prst="pct25">
            <a:fgClr>
              <a:schemeClr val="accent2">
                <a:lumMod val="75000"/>
              </a:schemeClr>
            </a:fgClr>
            <a:bgClr>
              <a:schemeClr val="accent2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arallelogram 87">
            <a:extLst>
              <a:ext uri="{FF2B5EF4-FFF2-40B4-BE49-F238E27FC236}">
                <a16:creationId xmlns:a16="http://schemas.microsoft.com/office/drawing/2014/main" id="{ED07F553-32AB-429D-8B27-70DA3ACF3F9A}"/>
              </a:ext>
            </a:extLst>
          </p:cNvPr>
          <p:cNvSpPr/>
          <p:nvPr/>
        </p:nvSpPr>
        <p:spPr>
          <a:xfrm>
            <a:off x="4818720" y="2365244"/>
            <a:ext cx="2495644" cy="1876425"/>
          </a:xfrm>
          <a:prstGeom prst="parallelogram">
            <a:avLst/>
          </a:prstGeom>
          <a:pattFill prst="pct25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Parallelogram 90">
            <a:extLst>
              <a:ext uri="{FF2B5EF4-FFF2-40B4-BE49-F238E27FC236}">
                <a16:creationId xmlns:a16="http://schemas.microsoft.com/office/drawing/2014/main" id="{72DD15EE-2961-4783-8393-59934B892426}"/>
              </a:ext>
            </a:extLst>
          </p:cNvPr>
          <p:cNvSpPr/>
          <p:nvPr/>
        </p:nvSpPr>
        <p:spPr>
          <a:xfrm>
            <a:off x="2545662" y="2381495"/>
            <a:ext cx="2495644" cy="1876428"/>
          </a:xfrm>
          <a:prstGeom prst="parallelogram">
            <a:avLst/>
          </a:prstGeom>
          <a:pattFill prst="pct25">
            <a:fgClr>
              <a:schemeClr val="accent1">
                <a:lumMod val="60000"/>
                <a:lumOff val="40000"/>
              </a:schemeClr>
            </a:fgClr>
            <a:bgClr>
              <a:schemeClr val="accent1">
                <a:lumMod val="75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107">
            <a:extLst>
              <a:ext uri="{FF2B5EF4-FFF2-40B4-BE49-F238E27FC236}">
                <a16:creationId xmlns:a16="http://schemas.microsoft.com/office/drawing/2014/main" id="{53321936-030D-4A32-B247-B8BA0B033ED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788147" y="3342612"/>
            <a:ext cx="1930488" cy="646331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КОЛЬНЫЕ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ДЕЛЕНИЯ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108">
            <a:extLst>
              <a:ext uri="{FF2B5EF4-FFF2-40B4-BE49-F238E27FC236}">
                <a16:creationId xmlns:a16="http://schemas.microsoft.com/office/drawing/2014/main" id="{41B3B798-5109-4CD4-AA22-D22582996E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994456" y="3342611"/>
            <a:ext cx="1930488" cy="646331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ШКОЛЬНЫЕ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ДЕЛЕНИЯ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ardrop 6">
            <a:extLst>
              <a:ext uri="{FF2B5EF4-FFF2-40B4-BE49-F238E27FC236}">
                <a16:creationId xmlns:a16="http://schemas.microsoft.com/office/drawing/2014/main" id="{3FF8E6D1-A5CA-4857-BFE4-E947E4F2F934}"/>
              </a:ext>
            </a:extLst>
          </p:cNvPr>
          <p:cNvSpPr/>
          <p:nvPr/>
        </p:nvSpPr>
        <p:spPr>
          <a:xfrm rot="8100000">
            <a:off x="5750963" y="2669368"/>
            <a:ext cx="417475" cy="417476"/>
          </a:xfrm>
          <a:custGeom>
            <a:avLst/>
            <a:gdLst/>
            <a:ahLst/>
            <a:cxnLst/>
            <a:rect l="l" t="t" r="r" b="b"/>
            <a:pathLst>
              <a:path w="2483832" h="2483835">
                <a:moveTo>
                  <a:pt x="657616" y="1826218"/>
                </a:moveTo>
                <a:cubicBezTo>
                  <a:pt x="806520" y="1975122"/>
                  <a:pt x="1047940" y="1975122"/>
                  <a:pt x="1196844" y="1826218"/>
                </a:cubicBezTo>
                <a:cubicBezTo>
                  <a:pt x="1345748" y="1677314"/>
                  <a:pt x="1345748" y="1435894"/>
                  <a:pt x="1196844" y="1286990"/>
                </a:cubicBezTo>
                <a:cubicBezTo>
                  <a:pt x="1047940" y="1138086"/>
                  <a:pt x="806520" y="1138086"/>
                  <a:pt x="657616" y="1286990"/>
                </a:cubicBezTo>
                <a:cubicBezTo>
                  <a:pt x="508712" y="1435894"/>
                  <a:pt x="508712" y="1677314"/>
                  <a:pt x="657616" y="1826218"/>
                </a:cubicBezTo>
                <a:close/>
                <a:moveTo>
                  <a:pt x="293335" y="2190500"/>
                </a:moveTo>
                <a:cubicBezTo>
                  <a:pt x="112098" y="2009262"/>
                  <a:pt x="0" y="1758885"/>
                  <a:pt x="0" y="1482325"/>
                </a:cubicBezTo>
                <a:cubicBezTo>
                  <a:pt x="0" y="929206"/>
                  <a:pt x="459290" y="590078"/>
                  <a:pt x="1001509" y="480815"/>
                </a:cubicBezTo>
                <a:cubicBezTo>
                  <a:pt x="1569704" y="366317"/>
                  <a:pt x="1861757" y="259925"/>
                  <a:pt x="2483832" y="0"/>
                </a:cubicBezTo>
                <a:cubicBezTo>
                  <a:pt x="2230640" y="682694"/>
                  <a:pt x="2130986" y="873716"/>
                  <a:pt x="2003018" y="1482325"/>
                </a:cubicBezTo>
                <a:cubicBezTo>
                  <a:pt x="1901990" y="2042180"/>
                  <a:pt x="1554627" y="2483835"/>
                  <a:pt x="1001509" y="2483835"/>
                </a:cubicBezTo>
                <a:cubicBezTo>
                  <a:pt x="724950" y="2483835"/>
                  <a:pt x="474573" y="2371737"/>
                  <a:pt x="293335" y="219050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8" name="Teardrop 6">
            <a:extLst>
              <a:ext uri="{FF2B5EF4-FFF2-40B4-BE49-F238E27FC236}">
                <a16:creationId xmlns:a16="http://schemas.microsoft.com/office/drawing/2014/main" id="{3FF8E6D1-A5CA-4857-BFE4-E947E4F2F934}"/>
              </a:ext>
            </a:extLst>
          </p:cNvPr>
          <p:cNvSpPr/>
          <p:nvPr/>
        </p:nvSpPr>
        <p:spPr>
          <a:xfrm rot="8100000">
            <a:off x="3544654" y="2685212"/>
            <a:ext cx="417475" cy="417476"/>
          </a:xfrm>
          <a:custGeom>
            <a:avLst/>
            <a:gdLst/>
            <a:ahLst/>
            <a:cxnLst/>
            <a:rect l="l" t="t" r="r" b="b"/>
            <a:pathLst>
              <a:path w="2483832" h="2483835">
                <a:moveTo>
                  <a:pt x="657616" y="1826218"/>
                </a:moveTo>
                <a:cubicBezTo>
                  <a:pt x="806520" y="1975122"/>
                  <a:pt x="1047940" y="1975122"/>
                  <a:pt x="1196844" y="1826218"/>
                </a:cubicBezTo>
                <a:cubicBezTo>
                  <a:pt x="1345748" y="1677314"/>
                  <a:pt x="1345748" y="1435894"/>
                  <a:pt x="1196844" y="1286990"/>
                </a:cubicBezTo>
                <a:cubicBezTo>
                  <a:pt x="1047940" y="1138086"/>
                  <a:pt x="806520" y="1138086"/>
                  <a:pt x="657616" y="1286990"/>
                </a:cubicBezTo>
                <a:cubicBezTo>
                  <a:pt x="508712" y="1435894"/>
                  <a:pt x="508712" y="1677314"/>
                  <a:pt x="657616" y="1826218"/>
                </a:cubicBezTo>
                <a:close/>
                <a:moveTo>
                  <a:pt x="293335" y="2190500"/>
                </a:moveTo>
                <a:cubicBezTo>
                  <a:pt x="112098" y="2009262"/>
                  <a:pt x="0" y="1758885"/>
                  <a:pt x="0" y="1482325"/>
                </a:cubicBezTo>
                <a:cubicBezTo>
                  <a:pt x="0" y="929206"/>
                  <a:pt x="459290" y="590078"/>
                  <a:pt x="1001509" y="480815"/>
                </a:cubicBezTo>
                <a:cubicBezTo>
                  <a:pt x="1569704" y="366317"/>
                  <a:pt x="1861757" y="259925"/>
                  <a:pt x="2483832" y="0"/>
                </a:cubicBezTo>
                <a:cubicBezTo>
                  <a:pt x="2230640" y="682694"/>
                  <a:pt x="2130986" y="873716"/>
                  <a:pt x="2003018" y="1482325"/>
                </a:cubicBezTo>
                <a:cubicBezTo>
                  <a:pt x="1901990" y="2042180"/>
                  <a:pt x="1554627" y="2483835"/>
                  <a:pt x="1001509" y="2483835"/>
                </a:cubicBezTo>
                <a:cubicBezTo>
                  <a:pt x="724950" y="2483835"/>
                  <a:pt x="474573" y="2371737"/>
                  <a:pt x="293335" y="219050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cxnSp>
        <p:nvCxnSpPr>
          <p:cNvPr id="8" name="Соединительная линия уступом 7"/>
          <p:cNvCxnSpPr/>
          <p:nvPr/>
        </p:nvCxnSpPr>
        <p:spPr>
          <a:xfrm rot="10800000" flipV="1">
            <a:off x="3414999" y="4538835"/>
            <a:ext cx="2469187" cy="37830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Соединительная линия уступом 142"/>
          <p:cNvCxnSpPr/>
          <p:nvPr/>
        </p:nvCxnSpPr>
        <p:spPr>
          <a:xfrm rot="16200000" flipH="1">
            <a:off x="6999070" y="3124940"/>
            <a:ext cx="493122" cy="281332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Соединительная линия уступом 144"/>
          <p:cNvCxnSpPr/>
          <p:nvPr/>
        </p:nvCxnSpPr>
        <p:spPr>
          <a:xfrm rot="5400000">
            <a:off x="5236425" y="4497143"/>
            <a:ext cx="629695" cy="57664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Rectangle 86"/>
          <p:cNvSpPr/>
          <p:nvPr/>
        </p:nvSpPr>
        <p:spPr>
          <a:xfrm rot="900000">
            <a:off x="536213" y="619600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854920" y="867578"/>
            <a:ext cx="153946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  <a:endParaRPr lang="ru-RU" sz="36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219010" y="3073364"/>
            <a:ext cx="25233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spc="300" dirty="0">
                <a:solidFill>
                  <a:schemeClr val="bg1"/>
                </a:solidFill>
                <a:latin typeface="Arial"/>
                <a:cs typeface="Arial"/>
              </a:rPr>
              <a:t>Реорганизация</a:t>
            </a:r>
            <a:endParaRPr lang="ru-RU" sz="2000" spc="300" dirty="0">
              <a:solidFill>
                <a:schemeClr val="bg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65CA51F0-0579-501B-A669-49EB64991149}"/>
              </a:ext>
            </a:extLst>
          </p:cNvPr>
          <p:cNvSpPr/>
          <p:nvPr/>
        </p:nvSpPr>
        <p:spPr>
          <a:xfrm>
            <a:off x="3534203" y="940873"/>
            <a:ext cx="189411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г. Домодедово, с. Красный Путь,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ул.Школьная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стр. 1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7481794" y="4917143"/>
            <a:ext cx="2514600" cy="1447800"/>
            <a:chOff x="5144124" y="4783810"/>
            <a:chExt cx="2514600" cy="1447800"/>
          </a:xfrm>
        </p:grpSpPr>
        <p:sp>
          <p:nvSpPr>
            <p:cNvPr id="103" name="Rectangle 26">
              <a:extLst>
                <a:ext uri="{FF2B5EF4-FFF2-40B4-BE49-F238E27FC236}">
                  <a16:creationId xmlns:a16="http://schemas.microsoft.com/office/drawing/2014/main" id="{E24B7E4D-F68D-4A02-B9A8-46959FBD33AD}"/>
                </a:ext>
              </a:extLst>
            </p:cNvPr>
            <p:cNvSpPr/>
            <p:nvPr/>
          </p:nvSpPr>
          <p:spPr>
            <a:xfrm>
              <a:off x="5144124" y="5021935"/>
              <a:ext cx="2514600" cy="120967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Rectangle 27">
              <a:extLst>
                <a:ext uri="{FF2B5EF4-FFF2-40B4-BE49-F238E27FC236}">
                  <a16:creationId xmlns:a16="http://schemas.microsoft.com/office/drawing/2014/main" id="{F780503E-408E-4789-8C5C-642413172613}"/>
                </a:ext>
              </a:extLst>
            </p:cNvPr>
            <p:cNvSpPr/>
            <p:nvPr/>
          </p:nvSpPr>
          <p:spPr>
            <a:xfrm>
              <a:off x="5369731" y="4783810"/>
              <a:ext cx="2063387" cy="492443"/>
            </a:xfrm>
            <a:prstGeom prst="rect">
              <a:avLst/>
            </a:prstGeom>
            <a:pattFill prst="pct25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Гном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Right Triangle 34">
              <a:extLst>
                <a:ext uri="{FF2B5EF4-FFF2-40B4-BE49-F238E27FC236}">
                  <a16:creationId xmlns:a16="http://schemas.microsoft.com/office/drawing/2014/main" id="{B04EBF7D-1191-430C-83C1-2B61F94312CA}"/>
                </a:ext>
              </a:extLst>
            </p:cNvPr>
            <p:cNvSpPr/>
            <p:nvPr/>
          </p:nvSpPr>
          <p:spPr>
            <a:xfrm flipH="1">
              <a:off x="5258423" y="4783810"/>
              <a:ext cx="111306" cy="238125"/>
            </a:xfrm>
            <a:prstGeom prst="rt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Right Triangle 53">
              <a:extLst>
                <a:ext uri="{FF2B5EF4-FFF2-40B4-BE49-F238E27FC236}">
                  <a16:creationId xmlns:a16="http://schemas.microsoft.com/office/drawing/2014/main" id="{C09A191A-2CAA-40F7-8BAA-C0A5D918FAB6}"/>
                </a:ext>
              </a:extLst>
            </p:cNvPr>
            <p:cNvSpPr/>
            <p:nvPr/>
          </p:nvSpPr>
          <p:spPr>
            <a:xfrm>
              <a:off x="7433118" y="4783810"/>
              <a:ext cx="111306" cy="238125"/>
            </a:xfrm>
            <a:prstGeom prst="rt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5979082" y="5399685"/>
              <a:ext cx="1679642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г.Домодедово</a:t>
              </a:r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с.Красный</a:t>
              </a:r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 Путь </a:t>
              </a:r>
              <a:r>
                <a:rPr lang="ru-RU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д.Житнево</a:t>
              </a:r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, стр.18д 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4282009" y="5018520"/>
            <a:ext cx="2622128" cy="1447800"/>
            <a:chOff x="2538814" y="4777056"/>
            <a:chExt cx="2622128" cy="1447800"/>
          </a:xfrm>
        </p:grpSpPr>
        <p:sp>
          <p:nvSpPr>
            <p:cNvPr id="96" name="Rectangle 26">
              <a:extLst>
                <a:ext uri="{FF2B5EF4-FFF2-40B4-BE49-F238E27FC236}">
                  <a16:creationId xmlns:a16="http://schemas.microsoft.com/office/drawing/2014/main" id="{E24B7E4D-F68D-4A02-B9A8-46959FBD33AD}"/>
                </a:ext>
              </a:extLst>
            </p:cNvPr>
            <p:cNvSpPr/>
            <p:nvPr/>
          </p:nvSpPr>
          <p:spPr>
            <a:xfrm>
              <a:off x="2538814" y="5015181"/>
              <a:ext cx="2514600" cy="120967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Rectangle 27">
              <a:extLst>
                <a:ext uri="{FF2B5EF4-FFF2-40B4-BE49-F238E27FC236}">
                  <a16:creationId xmlns:a16="http://schemas.microsoft.com/office/drawing/2014/main" id="{F780503E-408E-4789-8C5C-642413172613}"/>
                </a:ext>
              </a:extLst>
            </p:cNvPr>
            <p:cNvSpPr/>
            <p:nvPr/>
          </p:nvSpPr>
          <p:spPr>
            <a:xfrm>
              <a:off x="2764421" y="4777056"/>
              <a:ext cx="2063387" cy="492443"/>
            </a:xfrm>
            <a:prstGeom prst="rect">
              <a:avLst/>
            </a:prstGeom>
            <a:pattFill prst="pct25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Солнышко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Right Triangle 34">
              <a:extLst>
                <a:ext uri="{FF2B5EF4-FFF2-40B4-BE49-F238E27FC236}">
                  <a16:creationId xmlns:a16="http://schemas.microsoft.com/office/drawing/2014/main" id="{B04EBF7D-1191-430C-83C1-2B61F94312CA}"/>
                </a:ext>
              </a:extLst>
            </p:cNvPr>
            <p:cNvSpPr/>
            <p:nvPr/>
          </p:nvSpPr>
          <p:spPr>
            <a:xfrm flipH="1">
              <a:off x="2653113" y="4777056"/>
              <a:ext cx="111306" cy="238125"/>
            </a:xfrm>
            <a:prstGeom prst="rt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Right Triangle 53">
              <a:extLst>
                <a:ext uri="{FF2B5EF4-FFF2-40B4-BE49-F238E27FC236}">
                  <a16:creationId xmlns:a16="http://schemas.microsoft.com/office/drawing/2014/main" id="{C09A191A-2CAA-40F7-8BAA-C0A5D918FAB6}"/>
                </a:ext>
              </a:extLst>
            </p:cNvPr>
            <p:cNvSpPr/>
            <p:nvPr/>
          </p:nvSpPr>
          <p:spPr>
            <a:xfrm>
              <a:off x="4827808" y="4777056"/>
              <a:ext cx="111306" cy="238125"/>
            </a:xfrm>
            <a:prstGeom prst="rt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3383364" y="5399685"/>
              <a:ext cx="1777578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г. Домодедово,</a:t>
              </a:r>
            </a:p>
            <a:p>
              <a:r>
                <a:rPr lang="ru-RU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с.Красный</a:t>
              </a:r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 Путь, </a:t>
              </a:r>
              <a:r>
                <a:rPr lang="ru-RU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ул.Речная</a:t>
              </a:r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, стр.9а</a:t>
              </a:r>
            </a:p>
          </p:txBody>
        </p:sp>
      </p:grpSp>
      <p:grpSp>
        <p:nvGrpSpPr>
          <p:cNvPr id="94" name="Группа 93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101" name="Прямоугольник 100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109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5" name="Рисунок 114"/>
            <p:cNvPicPr>
              <a:picLocks noChangeAspect="1"/>
            </p:cNvPicPr>
            <p:nvPr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116" name="Рисунок 115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cxnSp>
        <p:nvCxnSpPr>
          <p:cNvPr id="123" name="Соединительная линия уступом 122"/>
          <p:cNvCxnSpPr>
            <a:stCxn id="33" idx="1"/>
            <a:endCxn id="3" idx="2"/>
          </p:cNvCxnSpPr>
          <p:nvPr/>
        </p:nvCxnSpPr>
        <p:spPr>
          <a:xfrm rot="16200000" flipV="1">
            <a:off x="3578248" y="1931705"/>
            <a:ext cx="718288" cy="18129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26" name="Picture 2" descr="https://sun9-80.userapi.com/impf/c852124/v852124117/11235e/spR2Be1v4-0.jpg?size=266x200&amp;quality=96&amp;sign=ee8cf330cf5d93daa4d51b682374da61&amp;type=album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150" y="927224"/>
            <a:ext cx="832113" cy="625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4513" y="5592243"/>
            <a:ext cx="712537" cy="53440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92" y="5644860"/>
            <a:ext cx="788200" cy="486057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1266" r="46" b="39845"/>
          <a:stretch/>
        </p:blipFill>
        <p:spPr>
          <a:xfrm>
            <a:off x="4345691" y="5641149"/>
            <a:ext cx="808086" cy="52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1539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>
            <a:extLst>
              <a:ext uri="{FF2B5EF4-FFF2-40B4-BE49-F238E27FC236}">
                <a16:creationId xmlns:a16="http://schemas.microsoft.com/office/drawing/2014/main" id="{0EE24A80-A3DF-4A44-B288-0FB15828FCA9}"/>
              </a:ext>
            </a:extLst>
          </p:cNvPr>
          <p:cNvSpPr txBox="1"/>
          <p:nvPr/>
        </p:nvSpPr>
        <p:spPr>
          <a:xfrm>
            <a:off x="1676349" y="2187401"/>
            <a:ext cx="7751340" cy="3693319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eaLnBrk="1" fontAlgn="auto" hangingPunct="1">
              <a:defRPr/>
            </a:pPr>
            <a:r>
              <a:rPr lang="ru-RU" sz="2000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Дошкольное отделение: 5-дневная неделя,</a:t>
            </a:r>
          </a:p>
          <a:p>
            <a:pPr eaLnBrk="1" fontAlgn="auto" hangingPunct="1">
              <a:defRPr/>
            </a:pPr>
            <a:r>
              <a:rPr lang="ru-RU" sz="2000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8 групп полного дня</a:t>
            </a:r>
          </a:p>
          <a:p>
            <a:pPr eaLnBrk="1" fontAlgn="auto" hangingPunct="1">
              <a:defRPr/>
            </a:pPr>
            <a:endParaRPr lang="ru-RU" sz="2000" dirty="0"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  <a:p>
            <a:pPr eaLnBrk="1" fontAlgn="auto" hangingPunct="1">
              <a:defRPr/>
            </a:pPr>
            <a:r>
              <a:rPr lang="ru-RU" sz="2000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Школьное отделение: 5-дневная неделя</a:t>
            </a:r>
          </a:p>
          <a:p>
            <a:pPr>
              <a:defRPr/>
            </a:pPr>
            <a:endParaRPr lang="ru-RU" sz="2000" dirty="0">
              <a:latin typeface="Arial" panose="020B0604020202020204" pitchFamily="34" charset="0"/>
              <a:ea typeface="Lato" panose="020F0502020204030203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000" dirty="0"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Триместры</a:t>
            </a:r>
          </a:p>
          <a:p>
            <a:pPr>
              <a:defRPr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полнительные каникулы для учащихся 1-х классов</a:t>
            </a:r>
          </a:p>
          <a:p>
            <a:pPr>
              <a:defRPr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1-9 классы (общеобразовательные)</a:t>
            </a:r>
          </a:p>
          <a:p>
            <a:pPr>
              <a:defRPr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10-11 классы (профильные)</a:t>
            </a:r>
          </a:p>
        </p:txBody>
      </p:sp>
      <p:sp>
        <p:nvSpPr>
          <p:cNvPr id="16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913469" y="667494"/>
            <a:ext cx="888238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работы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1117350" y="2293813"/>
            <a:ext cx="416235" cy="416235"/>
            <a:chOff x="6173658" y="2438672"/>
            <a:chExt cx="457200" cy="457200"/>
          </a:xfrm>
        </p:grpSpPr>
        <p:sp>
          <p:nvSpPr>
            <p:cNvPr id="13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1729449" y="2954442"/>
            <a:ext cx="7280032" cy="2452792"/>
            <a:chOff x="1770434" y="2936336"/>
            <a:chExt cx="7390938" cy="2452792"/>
          </a:xfrm>
        </p:grpSpPr>
        <p:cxnSp>
          <p:nvCxnSpPr>
            <p:cNvPr id="33" name="Прямая соединительная линия 32"/>
            <p:cNvCxnSpPr/>
            <p:nvPr/>
          </p:nvCxnSpPr>
          <p:spPr>
            <a:xfrm>
              <a:off x="1770434" y="3549534"/>
              <a:ext cx="7390938" cy="0"/>
            </a:xfrm>
            <a:prstGeom prst="line">
              <a:avLst/>
            </a:prstGeom>
            <a:ln>
              <a:solidFill>
                <a:srgbClr val="088A5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единительная линия 37"/>
            <p:cNvCxnSpPr/>
            <p:nvPr/>
          </p:nvCxnSpPr>
          <p:spPr>
            <a:xfrm>
              <a:off x="1770434" y="2936336"/>
              <a:ext cx="7390938" cy="0"/>
            </a:xfrm>
            <a:prstGeom prst="line">
              <a:avLst/>
            </a:prstGeom>
            <a:ln>
              <a:solidFill>
                <a:srgbClr val="088A5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/>
            <p:cNvCxnSpPr/>
            <p:nvPr/>
          </p:nvCxnSpPr>
          <p:spPr>
            <a:xfrm>
              <a:off x="1770434" y="4162732"/>
              <a:ext cx="7390938" cy="0"/>
            </a:xfrm>
            <a:prstGeom prst="line">
              <a:avLst/>
            </a:prstGeom>
            <a:ln>
              <a:solidFill>
                <a:srgbClr val="088A5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>
              <a:off x="1770434" y="4775930"/>
              <a:ext cx="7390938" cy="0"/>
            </a:xfrm>
            <a:prstGeom prst="line">
              <a:avLst/>
            </a:prstGeom>
            <a:ln>
              <a:solidFill>
                <a:srgbClr val="088A5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/>
            <p:cNvCxnSpPr/>
            <p:nvPr/>
          </p:nvCxnSpPr>
          <p:spPr>
            <a:xfrm>
              <a:off x="1770434" y="5389128"/>
              <a:ext cx="7390938" cy="0"/>
            </a:xfrm>
            <a:prstGeom prst="line">
              <a:avLst/>
            </a:prstGeom>
            <a:ln>
              <a:solidFill>
                <a:srgbClr val="088A5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Группа 38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42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grpSp>
        <p:nvGrpSpPr>
          <p:cNvPr id="45" name="Группа 44"/>
          <p:cNvGrpSpPr/>
          <p:nvPr/>
        </p:nvGrpSpPr>
        <p:grpSpPr>
          <a:xfrm>
            <a:off x="1117350" y="2933200"/>
            <a:ext cx="416235" cy="416235"/>
            <a:chOff x="6173658" y="2438672"/>
            <a:chExt cx="457200" cy="457200"/>
          </a:xfrm>
        </p:grpSpPr>
        <p:sp>
          <p:nvSpPr>
            <p:cNvPr id="51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1117350" y="3572587"/>
            <a:ext cx="416235" cy="416235"/>
            <a:chOff x="6173658" y="2438672"/>
            <a:chExt cx="457200" cy="457200"/>
          </a:xfrm>
        </p:grpSpPr>
        <p:sp>
          <p:nvSpPr>
            <p:cNvPr id="57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1117350" y="4211974"/>
            <a:ext cx="416235" cy="416235"/>
            <a:chOff x="6173658" y="2438672"/>
            <a:chExt cx="457200" cy="457200"/>
          </a:xfrm>
        </p:grpSpPr>
        <p:sp>
          <p:nvSpPr>
            <p:cNvPr id="60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1117350" y="4851361"/>
            <a:ext cx="416235" cy="416235"/>
            <a:chOff x="6173658" y="2438672"/>
            <a:chExt cx="457200" cy="457200"/>
          </a:xfrm>
        </p:grpSpPr>
        <p:sp>
          <p:nvSpPr>
            <p:cNvPr id="63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1117350" y="5490750"/>
            <a:ext cx="416235" cy="416235"/>
            <a:chOff x="6173658" y="2438672"/>
            <a:chExt cx="457200" cy="457200"/>
          </a:xfrm>
        </p:grpSpPr>
        <p:sp>
          <p:nvSpPr>
            <p:cNvPr id="67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73801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Oval 6">
            <a:extLst>
              <a:ext uri="{FF2B5EF4-FFF2-40B4-BE49-F238E27FC236}">
                <a16:creationId xmlns:a16="http://schemas.microsoft.com/office/drawing/2014/main" id="{7CA0177A-A99D-4BBE-90C4-92DBFFE99484}"/>
              </a:ext>
            </a:extLst>
          </p:cNvPr>
          <p:cNvSpPr/>
          <p:nvPr/>
        </p:nvSpPr>
        <p:spPr>
          <a:xfrm>
            <a:off x="3132053" y="1767463"/>
            <a:ext cx="3454400" cy="3454400"/>
          </a:xfrm>
          <a:prstGeom prst="ellipse">
            <a:avLst/>
          </a:prstGeom>
          <a:noFill/>
          <a:ln w="38100">
            <a:solidFill>
              <a:srgbClr val="066948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E1CD0E2-CC0D-499F-9749-4EA83170CC35}"/>
              </a:ext>
            </a:extLst>
          </p:cNvPr>
          <p:cNvSpPr txBox="1"/>
          <p:nvPr/>
        </p:nvSpPr>
        <p:spPr>
          <a:xfrm>
            <a:off x="3373353" y="3279222"/>
            <a:ext cx="297180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2800" spc="600" dirty="0">
                <a:latin typeface="Arial" panose="020B0604020202020204" pitchFamily="34" charset="0"/>
                <a:cs typeface="Arial" panose="020B0604020202020204" pitchFamily="34" charset="0"/>
              </a:rPr>
              <a:t>2022 год</a:t>
            </a:r>
            <a:endParaRPr lang="en-US" sz="2800" spc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E9A292E-8220-4CBB-906A-11204670DE4E}"/>
              </a:ext>
            </a:extLst>
          </p:cNvPr>
          <p:cNvSpPr txBox="1"/>
          <p:nvPr/>
        </p:nvSpPr>
        <p:spPr>
          <a:xfrm>
            <a:off x="6641171" y="2219836"/>
            <a:ext cx="221509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4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8</a:t>
            </a:r>
            <a:endParaRPr lang="en-US" sz="4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F448688-72F0-4A23-B205-638074B34089}"/>
              </a:ext>
            </a:extLst>
          </p:cNvPr>
          <p:cNvSpPr txBox="1"/>
          <p:nvPr/>
        </p:nvSpPr>
        <p:spPr>
          <a:xfrm>
            <a:off x="6804131" y="2876615"/>
            <a:ext cx="239077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оспитанников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EAB6EC5-BA70-4E63-833A-A7D276CBB423}"/>
              </a:ext>
            </a:extLst>
          </p:cNvPr>
          <p:cNvSpPr txBox="1"/>
          <p:nvPr/>
        </p:nvSpPr>
        <p:spPr>
          <a:xfrm>
            <a:off x="6641171" y="3988245"/>
            <a:ext cx="1942865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4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9</a:t>
            </a:r>
            <a:endParaRPr lang="en-US" sz="4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51918DC-30D9-44C9-812E-2BE05077E1DB}"/>
              </a:ext>
            </a:extLst>
          </p:cNvPr>
          <p:cNvSpPr txBox="1"/>
          <p:nvPr/>
        </p:nvSpPr>
        <p:spPr>
          <a:xfrm>
            <a:off x="6804131" y="4653937"/>
            <a:ext cx="246270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чащихся 1-4 классов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B525F59-A187-4CC8-9B53-0750ABFA282A}"/>
              </a:ext>
            </a:extLst>
          </p:cNvPr>
          <p:cNvSpPr txBox="1"/>
          <p:nvPr/>
        </p:nvSpPr>
        <p:spPr>
          <a:xfrm flipH="1">
            <a:off x="883526" y="2219836"/>
            <a:ext cx="2074527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ru-RU" sz="4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</a:t>
            </a:r>
            <a:endParaRPr lang="en-US" sz="4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30E04B-46EC-4AD3-BB87-2D93C3285E24}"/>
              </a:ext>
            </a:extLst>
          </p:cNvPr>
          <p:cNvSpPr txBox="1"/>
          <p:nvPr/>
        </p:nvSpPr>
        <p:spPr>
          <a:xfrm flipH="1">
            <a:off x="241392" y="2876615"/>
            <a:ext cx="269855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чащихся 10-11 классов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A721D05-CA26-4E95-8937-A19A3CE61089}"/>
              </a:ext>
            </a:extLst>
          </p:cNvPr>
          <p:cNvSpPr txBox="1"/>
          <p:nvPr/>
        </p:nvSpPr>
        <p:spPr>
          <a:xfrm flipH="1">
            <a:off x="1187753" y="3988245"/>
            <a:ext cx="177030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ru-RU" sz="4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8</a:t>
            </a:r>
            <a:endParaRPr lang="en-US" sz="4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9D85312-97EC-4824-9EE8-861AB9B8A1E8}"/>
              </a:ext>
            </a:extLst>
          </p:cNvPr>
          <p:cNvSpPr txBox="1"/>
          <p:nvPr/>
        </p:nvSpPr>
        <p:spPr>
          <a:xfrm flipH="1">
            <a:off x="605419" y="4653937"/>
            <a:ext cx="233452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чащихся 5-9 классов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Oval 31">
            <a:extLst>
              <a:ext uri="{FF2B5EF4-FFF2-40B4-BE49-F238E27FC236}">
                <a16:creationId xmlns:a16="http://schemas.microsoft.com/office/drawing/2014/main" id="{B1A2D3A2-E6A6-4B2B-9AEC-8FD21EFB6D5C}"/>
              </a:ext>
            </a:extLst>
          </p:cNvPr>
          <p:cNvSpPr/>
          <p:nvPr/>
        </p:nvSpPr>
        <p:spPr>
          <a:xfrm>
            <a:off x="6129163" y="4116845"/>
            <a:ext cx="457200" cy="457200"/>
          </a:xfrm>
          <a:prstGeom prst="ellipse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Oval 32">
            <a:extLst>
              <a:ext uri="{FF2B5EF4-FFF2-40B4-BE49-F238E27FC236}">
                <a16:creationId xmlns:a16="http://schemas.microsoft.com/office/drawing/2014/main" id="{310DEC09-9186-4B70-9118-67D436BA2CF7}"/>
              </a:ext>
            </a:extLst>
          </p:cNvPr>
          <p:cNvSpPr/>
          <p:nvPr/>
        </p:nvSpPr>
        <p:spPr>
          <a:xfrm>
            <a:off x="3132143" y="2415281"/>
            <a:ext cx="457200" cy="457200"/>
          </a:xfrm>
          <a:prstGeom prst="ellipse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Oval 33">
            <a:extLst>
              <a:ext uri="{FF2B5EF4-FFF2-40B4-BE49-F238E27FC236}">
                <a16:creationId xmlns:a16="http://schemas.microsoft.com/office/drawing/2014/main" id="{E08EACDC-C993-42D2-8378-EC6CD0A08B73}"/>
              </a:ext>
            </a:extLst>
          </p:cNvPr>
          <p:cNvSpPr/>
          <p:nvPr/>
        </p:nvSpPr>
        <p:spPr>
          <a:xfrm>
            <a:off x="3132143" y="4116845"/>
            <a:ext cx="457200" cy="457200"/>
          </a:xfrm>
          <a:prstGeom prst="ellipse">
            <a:avLst/>
          </a:prstGeom>
          <a:pattFill prst="pct50">
            <a:fgClr>
              <a:schemeClr val="accent1">
                <a:lumMod val="75000"/>
              </a:schemeClr>
            </a:fgClr>
            <a:bgClr>
              <a:schemeClr val="accent1">
                <a:lumMod val="50000"/>
              </a:schemeClr>
            </a:bgClr>
          </a:patt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6129163" y="2415281"/>
            <a:ext cx="457200" cy="457200"/>
            <a:chOff x="6173658" y="2438672"/>
            <a:chExt cx="457200" cy="457200"/>
          </a:xfrm>
        </p:grpSpPr>
        <p:sp>
          <p:nvSpPr>
            <p:cNvPr id="76" name="Oval 30">
              <a:extLst>
                <a:ext uri="{FF2B5EF4-FFF2-40B4-BE49-F238E27FC236}">
                  <a16:creationId xmlns:a16="http://schemas.microsoft.com/office/drawing/2014/main" id="{E7864DAC-7EE5-474D-A85D-DF8495D0D62A}"/>
                </a:ext>
              </a:extLst>
            </p:cNvPr>
            <p:cNvSpPr/>
            <p:nvPr/>
          </p:nvSpPr>
          <p:spPr>
            <a:xfrm>
              <a:off x="6173658" y="2438672"/>
              <a:ext cx="457200" cy="457200"/>
            </a:xfrm>
            <a:prstGeom prst="ellipse">
              <a:avLst/>
            </a:prstGeom>
            <a:pattFill prst="pct50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 931">
              <a:extLst>
                <a:ext uri="{FF2B5EF4-FFF2-40B4-BE49-F238E27FC236}">
                  <a16:creationId xmlns:a16="http://schemas.microsoft.com/office/drawing/2014/main" id="{6D3BE90E-4A06-4694-AB29-E294C770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150" y="2560175"/>
              <a:ext cx="164216" cy="214195"/>
            </a:xfrm>
            <a:custGeom>
              <a:avLst/>
              <a:gdLst>
                <a:gd name="T0" fmla="*/ 348 w 553"/>
                <a:gd name="T1" fmla="*/ 11 h 722"/>
                <a:gd name="T2" fmla="*/ 348 w 553"/>
                <a:gd name="T3" fmla="*/ 204 h 722"/>
                <a:gd name="T4" fmla="*/ 108 w 553"/>
                <a:gd name="T5" fmla="*/ 602 h 722"/>
                <a:gd name="T6" fmla="*/ 99 w 553"/>
                <a:gd name="T7" fmla="*/ 599 h 722"/>
                <a:gd name="T8" fmla="*/ 95 w 553"/>
                <a:gd name="T9" fmla="*/ 590 h 722"/>
                <a:gd name="T10" fmla="*/ 96 w 553"/>
                <a:gd name="T11" fmla="*/ 236 h 722"/>
                <a:gd name="T12" fmla="*/ 104 w 553"/>
                <a:gd name="T13" fmla="*/ 230 h 722"/>
                <a:gd name="T14" fmla="*/ 113 w 553"/>
                <a:gd name="T15" fmla="*/ 230 h 722"/>
                <a:gd name="T16" fmla="*/ 119 w 553"/>
                <a:gd name="T17" fmla="*/ 236 h 722"/>
                <a:gd name="T18" fmla="*/ 120 w 553"/>
                <a:gd name="T19" fmla="*/ 467 h 722"/>
                <a:gd name="T20" fmla="*/ 233 w 553"/>
                <a:gd name="T21" fmla="*/ 365 h 722"/>
                <a:gd name="T22" fmla="*/ 241 w 553"/>
                <a:gd name="T23" fmla="*/ 365 h 722"/>
                <a:gd name="T24" fmla="*/ 327 w 553"/>
                <a:gd name="T25" fmla="*/ 421 h 722"/>
                <a:gd name="T26" fmla="*/ 440 w 553"/>
                <a:gd name="T27" fmla="*/ 303 h 722"/>
                <a:gd name="T28" fmla="*/ 447 w 553"/>
                <a:gd name="T29" fmla="*/ 301 h 722"/>
                <a:gd name="T30" fmla="*/ 451 w 553"/>
                <a:gd name="T31" fmla="*/ 303 h 722"/>
                <a:gd name="T32" fmla="*/ 456 w 553"/>
                <a:gd name="T33" fmla="*/ 308 h 722"/>
                <a:gd name="T34" fmla="*/ 456 w 553"/>
                <a:gd name="T35" fmla="*/ 317 h 722"/>
                <a:gd name="T36" fmla="*/ 338 w 553"/>
                <a:gd name="T37" fmla="*/ 446 h 722"/>
                <a:gd name="T38" fmla="*/ 330 w 553"/>
                <a:gd name="T39" fmla="*/ 449 h 722"/>
                <a:gd name="T40" fmla="*/ 322 w 553"/>
                <a:gd name="T41" fmla="*/ 448 h 722"/>
                <a:gd name="T42" fmla="*/ 120 w 553"/>
                <a:gd name="T43" fmla="*/ 500 h 722"/>
                <a:gd name="T44" fmla="*/ 450 w 553"/>
                <a:gd name="T45" fmla="*/ 577 h 722"/>
                <a:gd name="T46" fmla="*/ 458 w 553"/>
                <a:gd name="T47" fmla="*/ 581 h 722"/>
                <a:gd name="T48" fmla="*/ 462 w 553"/>
                <a:gd name="T49" fmla="*/ 590 h 722"/>
                <a:gd name="T50" fmla="*/ 458 w 553"/>
                <a:gd name="T51" fmla="*/ 599 h 722"/>
                <a:gd name="T52" fmla="*/ 450 w 553"/>
                <a:gd name="T53" fmla="*/ 602 h 722"/>
                <a:gd name="T54" fmla="*/ 357 w 553"/>
                <a:gd name="T55" fmla="*/ 3 h 722"/>
                <a:gd name="T56" fmla="*/ 348 w 553"/>
                <a:gd name="T57" fmla="*/ 0 h 722"/>
                <a:gd name="T58" fmla="*/ 7 w 553"/>
                <a:gd name="T59" fmla="*/ 1 h 722"/>
                <a:gd name="T60" fmla="*/ 1 w 553"/>
                <a:gd name="T61" fmla="*/ 7 h 722"/>
                <a:gd name="T62" fmla="*/ 0 w 553"/>
                <a:gd name="T63" fmla="*/ 710 h 722"/>
                <a:gd name="T64" fmla="*/ 3 w 553"/>
                <a:gd name="T65" fmla="*/ 719 h 722"/>
                <a:gd name="T66" fmla="*/ 12 w 553"/>
                <a:gd name="T67" fmla="*/ 722 h 722"/>
                <a:gd name="T68" fmla="*/ 546 w 553"/>
                <a:gd name="T69" fmla="*/ 721 h 722"/>
                <a:gd name="T70" fmla="*/ 552 w 553"/>
                <a:gd name="T71" fmla="*/ 715 h 722"/>
                <a:gd name="T72" fmla="*/ 553 w 553"/>
                <a:gd name="T73" fmla="*/ 204 h 722"/>
                <a:gd name="T74" fmla="*/ 550 w 553"/>
                <a:gd name="T75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3" h="722">
                  <a:moveTo>
                    <a:pt x="348" y="204"/>
                  </a:moveTo>
                  <a:lnTo>
                    <a:pt x="348" y="11"/>
                  </a:lnTo>
                  <a:lnTo>
                    <a:pt x="541" y="204"/>
                  </a:lnTo>
                  <a:lnTo>
                    <a:pt x="348" y="204"/>
                  </a:lnTo>
                  <a:close/>
                  <a:moveTo>
                    <a:pt x="450" y="602"/>
                  </a:moveTo>
                  <a:lnTo>
                    <a:pt x="108" y="602"/>
                  </a:lnTo>
                  <a:lnTo>
                    <a:pt x="104" y="601"/>
                  </a:lnTo>
                  <a:lnTo>
                    <a:pt x="99" y="599"/>
                  </a:lnTo>
                  <a:lnTo>
                    <a:pt x="96" y="595"/>
                  </a:lnTo>
                  <a:lnTo>
                    <a:pt x="95" y="590"/>
                  </a:lnTo>
                  <a:lnTo>
                    <a:pt x="95" y="241"/>
                  </a:lnTo>
                  <a:lnTo>
                    <a:pt x="96" y="236"/>
                  </a:lnTo>
                  <a:lnTo>
                    <a:pt x="99" y="232"/>
                  </a:lnTo>
                  <a:lnTo>
                    <a:pt x="104" y="230"/>
                  </a:lnTo>
                  <a:lnTo>
                    <a:pt x="108" y="229"/>
                  </a:lnTo>
                  <a:lnTo>
                    <a:pt x="113" y="230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0" y="241"/>
                  </a:lnTo>
                  <a:lnTo>
                    <a:pt x="120" y="467"/>
                  </a:lnTo>
                  <a:lnTo>
                    <a:pt x="230" y="368"/>
                  </a:lnTo>
                  <a:lnTo>
                    <a:pt x="233" y="365"/>
                  </a:lnTo>
                  <a:lnTo>
                    <a:pt x="237" y="364"/>
                  </a:lnTo>
                  <a:lnTo>
                    <a:pt x="241" y="365"/>
                  </a:lnTo>
                  <a:lnTo>
                    <a:pt x="244" y="367"/>
                  </a:lnTo>
                  <a:lnTo>
                    <a:pt x="327" y="421"/>
                  </a:lnTo>
                  <a:lnTo>
                    <a:pt x="436" y="306"/>
                  </a:lnTo>
                  <a:lnTo>
                    <a:pt x="440" y="303"/>
                  </a:lnTo>
                  <a:lnTo>
                    <a:pt x="445" y="301"/>
                  </a:lnTo>
                  <a:lnTo>
                    <a:pt x="447" y="301"/>
                  </a:lnTo>
                  <a:lnTo>
                    <a:pt x="449" y="302"/>
                  </a:lnTo>
                  <a:lnTo>
                    <a:pt x="451" y="303"/>
                  </a:lnTo>
                  <a:lnTo>
                    <a:pt x="453" y="304"/>
                  </a:lnTo>
                  <a:lnTo>
                    <a:pt x="456" y="308"/>
                  </a:lnTo>
                  <a:lnTo>
                    <a:pt x="457" y="313"/>
                  </a:lnTo>
                  <a:lnTo>
                    <a:pt x="456" y="317"/>
                  </a:lnTo>
                  <a:lnTo>
                    <a:pt x="454" y="321"/>
                  </a:lnTo>
                  <a:lnTo>
                    <a:pt x="338" y="446"/>
                  </a:lnTo>
                  <a:lnTo>
                    <a:pt x="334" y="448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2" y="448"/>
                  </a:lnTo>
                  <a:lnTo>
                    <a:pt x="239" y="393"/>
                  </a:lnTo>
                  <a:lnTo>
                    <a:pt x="120" y="500"/>
                  </a:lnTo>
                  <a:lnTo>
                    <a:pt x="120" y="577"/>
                  </a:lnTo>
                  <a:lnTo>
                    <a:pt x="450" y="577"/>
                  </a:lnTo>
                  <a:lnTo>
                    <a:pt x="455" y="578"/>
                  </a:lnTo>
                  <a:lnTo>
                    <a:pt x="458" y="581"/>
                  </a:lnTo>
                  <a:lnTo>
                    <a:pt x="461" y="585"/>
                  </a:lnTo>
                  <a:lnTo>
                    <a:pt x="462" y="590"/>
                  </a:lnTo>
                  <a:lnTo>
                    <a:pt x="461" y="595"/>
                  </a:lnTo>
                  <a:lnTo>
                    <a:pt x="458" y="599"/>
                  </a:lnTo>
                  <a:lnTo>
                    <a:pt x="455" y="601"/>
                  </a:lnTo>
                  <a:lnTo>
                    <a:pt x="450" y="602"/>
                  </a:lnTo>
                  <a:close/>
                  <a:moveTo>
                    <a:pt x="550" y="196"/>
                  </a:moveTo>
                  <a:lnTo>
                    <a:pt x="357" y="3"/>
                  </a:lnTo>
                  <a:lnTo>
                    <a:pt x="353" y="0"/>
                  </a:lnTo>
                  <a:lnTo>
                    <a:pt x="34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8" name="Freeform 931">
            <a:extLst>
              <a:ext uri="{FF2B5EF4-FFF2-40B4-BE49-F238E27FC236}">
                <a16:creationId xmlns:a16="http://schemas.microsoft.com/office/drawing/2014/main" id="{6D3BE90E-4A06-4694-AB29-E294C770498D}"/>
              </a:ext>
            </a:extLst>
          </p:cNvPr>
          <p:cNvSpPr>
            <a:spLocks noEditPoints="1"/>
          </p:cNvSpPr>
          <p:nvPr/>
        </p:nvSpPr>
        <p:spPr bwMode="auto">
          <a:xfrm>
            <a:off x="3258796" y="4239726"/>
            <a:ext cx="164216" cy="214195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Freeform 931">
            <a:extLst>
              <a:ext uri="{FF2B5EF4-FFF2-40B4-BE49-F238E27FC236}">
                <a16:creationId xmlns:a16="http://schemas.microsoft.com/office/drawing/2014/main" id="{6D3BE90E-4A06-4694-AB29-E294C770498D}"/>
              </a:ext>
            </a:extLst>
          </p:cNvPr>
          <p:cNvSpPr>
            <a:spLocks noEditPoints="1"/>
          </p:cNvSpPr>
          <p:nvPr/>
        </p:nvSpPr>
        <p:spPr bwMode="auto">
          <a:xfrm>
            <a:off x="6275655" y="4239726"/>
            <a:ext cx="164216" cy="214195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Freeform 931">
            <a:extLst>
              <a:ext uri="{FF2B5EF4-FFF2-40B4-BE49-F238E27FC236}">
                <a16:creationId xmlns:a16="http://schemas.microsoft.com/office/drawing/2014/main" id="{6D3BE90E-4A06-4694-AB29-E294C770498D}"/>
              </a:ext>
            </a:extLst>
          </p:cNvPr>
          <p:cNvSpPr>
            <a:spLocks noEditPoints="1"/>
          </p:cNvSpPr>
          <p:nvPr/>
        </p:nvSpPr>
        <p:spPr bwMode="auto">
          <a:xfrm>
            <a:off x="3275801" y="2536783"/>
            <a:ext cx="164216" cy="214195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6223005" y="5914690"/>
            <a:ext cx="3228813" cy="430887"/>
            <a:chOff x="8267767" y="5984830"/>
            <a:chExt cx="3228813" cy="430887"/>
          </a:xfrm>
        </p:grpSpPr>
        <p:grpSp>
          <p:nvGrpSpPr>
            <p:cNvPr id="107" name="Group 9">
              <a:extLst>
                <a:ext uri="{FF2B5EF4-FFF2-40B4-BE49-F238E27FC236}">
                  <a16:creationId xmlns:a16="http://schemas.microsoft.com/office/drawing/2014/main" id="{0EF9CB6B-22E1-4722-9EC9-7C5F79117862}"/>
                </a:ext>
              </a:extLst>
            </p:cNvPr>
            <p:cNvGrpSpPr/>
            <p:nvPr/>
          </p:nvGrpSpPr>
          <p:grpSpPr>
            <a:xfrm>
              <a:off x="8267767" y="5984830"/>
              <a:ext cx="3228813" cy="430887"/>
              <a:chOff x="8378123" y="5687222"/>
              <a:chExt cx="3228813" cy="430887"/>
            </a:xfrm>
          </p:grpSpPr>
          <p:sp>
            <p:nvSpPr>
              <p:cNvPr id="108" name="Rectangle 20">
                <a:extLst>
                  <a:ext uri="{FF2B5EF4-FFF2-40B4-BE49-F238E27FC236}">
                    <a16:creationId xmlns:a16="http://schemas.microsoft.com/office/drawing/2014/main" id="{5D4F8E86-2479-4081-9C8D-E1606EA704EE}"/>
                  </a:ext>
                </a:extLst>
              </p:cNvPr>
              <p:cNvSpPr/>
              <p:nvPr/>
            </p:nvSpPr>
            <p:spPr>
              <a:xfrm>
                <a:off x="8378123" y="5687222"/>
                <a:ext cx="450553" cy="430887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3BACF8DA-1722-4A01-9ACB-D170215B3801}"/>
                  </a:ext>
                </a:extLst>
              </p:cNvPr>
              <p:cNvSpPr txBox="1"/>
              <p:nvPr/>
            </p:nvSpPr>
            <p:spPr>
              <a:xfrm>
                <a:off x="9009651" y="5687222"/>
                <a:ext cx="2597285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67</a:t>
                </a:r>
                <a:r>
                  <a:rPr lang="ru-RU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административных</a:t>
                </a:r>
              </a:p>
              <a:p>
                <a:r>
                  <a:rPr lang="ru-RU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 педагогических работников</a:t>
                </a:r>
                <a:endPara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8" name="Round Same Side Corner Rectangle 6">
              <a:extLst>
                <a:ext uri="{FF2B5EF4-FFF2-40B4-BE49-F238E27FC236}">
                  <a16:creationId xmlns:a16="http://schemas.microsoft.com/office/drawing/2014/main" id="{11207448-F26A-4EF1-8764-2D6798600849}"/>
                </a:ext>
              </a:extLst>
            </p:cNvPr>
            <p:cNvSpPr/>
            <p:nvPr/>
          </p:nvSpPr>
          <p:spPr>
            <a:xfrm rot="2700000" flipH="1">
              <a:off x="8446663" y="6014330"/>
              <a:ext cx="92760" cy="371885"/>
            </a:xfrm>
            <a:custGeom>
              <a:avLst/>
              <a:gdLst/>
              <a:ahLst/>
              <a:cxnLst/>
              <a:rect l="l" t="t" r="r" b="b"/>
              <a:pathLst>
                <a:path w="1035916" h="4153123">
                  <a:moveTo>
                    <a:pt x="277501" y="3759099"/>
                  </a:moveTo>
                  <a:lnTo>
                    <a:pt x="758408" y="3759099"/>
                  </a:lnTo>
                  <a:lnTo>
                    <a:pt x="517954" y="4153123"/>
                  </a:lnTo>
                  <a:close/>
                  <a:moveTo>
                    <a:pt x="42612" y="2944898"/>
                  </a:moveTo>
                  <a:cubicBezTo>
                    <a:pt x="153922" y="2941505"/>
                    <a:pt x="246502" y="2889483"/>
                    <a:pt x="275675" y="2819018"/>
                  </a:cubicBezTo>
                  <a:cubicBezTo>
                    <a:pt x="304648" y="2892614"/>
                    <a:pt x="403763" y="2945872"/>
                    <a:pt x="521107" y="2945872"/>
                  </a:cubicBezTo>
                  <a:cubicBezTo>
                    <a:pt x="638453" y="2945872"/>
                    <a:pt x="737567" y="2892613"/>
                    <a:pt x="766540" y="2819017"/>
                  </a:cubicBezTo>
                  <a:cubicBezTo>
                    <a:pt x="795133" y="2888142"/>
                    <a:pt x="884783" y="2939514"/>
                    <a:pt x="993299" y="2944464"/>
                  </a:cubicBezTo>
                  <a:lnTo>
                    <a:pt x="776840" y="3657264"/>
                  </a:lnTo>
                  <a:lnTo>
                    <a:pt x="258940" y="3657264"/>
                  </a:lnTo>
                  <a:close/>
                  <a:moveTo>
                    <a:pt x="809102" y="564558"/>
                  </a:moveTo>
                  <a:lnTo>
                    <a:pt x="1035914" y="564558"/>
                  </a:lnTo>
                  <a:lnTo>
                    <a:pt x="1035915" y="2838682"/>
                  </a:lnTo>
                  <a:cubicBezTo>
                    <a:pt x="1029586" y="2840409"/>
                    <a:pt x="1023074" y="2840731"/>
                    <a:pt x="1016490" y="2840731"/>
                  </a:cubicBezTo>
                  <a:cubicBezTo>
                    <a:pt x="901952" y="2840731"/>
                    <a:pt x="809102" y="2743612"/>
                    <a:pt x="809101" y="2623810"/>
                  </a:cubicBezTo>
                  <a:close/>
                  <a:moveTo>
                    <a:pt x="310569" y="564558"/>
                  </a:moveTo>
                  <a:lnTo>
                    <a:pt x="725347" y="564558"/>
                  </a:lnTo>
                  <a:lnTo>
                    <a:pt x="725347" y="2633342"/>
                  </a:lnTo>
                  <a:cubicBezTo>
                    <a:pt x="725347" y="2747880"/>
                    <a:pt x="632496" y="2840731"/>
                    <a:pt x="517958" y="2840731"/>
                  </a:cubicBezTo>
                  <a:cubicBezTo>
                    <a:pt x="403420" y="2840731"/>
                    <a:pt x="310569" y="2747880"/>
                    <a:pt x="310569" y="2633342"/>
                  </a:cubicBezTo>
                  <a:close/>
                  <a:moveTo>
                    <a:pt x="0" y="564557"/>
                  </a:moveTo>
                  <a:lnTo>
                    <a:pt x="226813" y="564557"/>
                  </a:lnTo>
                  <a:lnTo>
                    <a:pt x="226813" y="2623810"/>
                  </a:lnTo>
                  <a:cubicBezTo>
                    <a:pt x="226813" y="2743612"/>
                    <a:pt x="133962" y="2840731"/>
                    <a:pt x="19424" y="2840730"/>
                  </a:cubicBezTo>
                  <a:cubicBezTo>
                    <a:pt x="12841" y="2840730"/>
                    <a:pt x="6329" y="2840409"/>
                    <a:pt x="0" y="2838682"/>
                  </a:cubicBezTo>
                  <a:close/>
                  <a:moveTo>
                    <a:pt x="71964" y="71964"/>
                  </a:moveTo>
                  <a:cubicBezTo>
                    <a:pt x="116427" y="27501"/>
                    <a:pt x="177852" y="0"/>
                    <a:pt x="245701" y="0"/>
                  </a:cubicBezTo>
                  <a:lnTo>
                    <a:pt x="790215" y="0"/>
                  </a:lnTo>
                  <a:cubicBezTo>
                    <a:pt x="925912" y="0"/>
                    <a:pt x="1035916" y="110004"/>
                    <a:pt x="1035916" y="245701"/>
                  </a:cubicBezTo>
                  <a:cubicBezTo>
                    <a:pt x="1035916" y="327601"/>
                    <a:pt x="1035915" y="409501"/>
                    <a:pt x="1035915" y="491401"/>
                  </a:cubicBezTo>
                  <a:lnTo>
                    <a:pt x="0" y="491401"/>
                  </a:lnTo>
                  <a:lnTo>
                    <a:pt x="0" y="245701"/>
                  </a:lnTo>
                  <a:cubicBezTo>
                    <a:pt x="0" y="177853"/>
                    <a:pt x="27501" y="116427"/>
                    <a:pt x="71964" y="7196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3255007" y="5925205"/>
            <a:ext cx="2874156" cy="430887"/>
            <a:chOff x="4725777" y="5984830"/>
            <a:chExt cx="2874156" cy="430887"/>
          </a:xfrm>
        </p:grpSpPr>
        <p:grpSp>
          <p:nvGrpSpPr>
            <p:cNvPr id="104" name="Group 10">
              <a:extLst>
                <a:ext uri="{FF2B5EF4-FFF2-40B4-BE49-F238E27FC236}">
                  <a16:creationId xmlns:a16="http://schemas.microsoft.com/office/drawing/2014/main" id="{851C9812-DFA5-45AD-8675-B5E1F198A115}"/>
                </a:ext>
              </a:extLst>
            </p:cNvPr>
            <p:cNvGrpSpPr/>
            <p:nvPr/>
          </p:nvGrpSpPr>
          <p:grpSpPr>
            <a:xfrm>
              <a:off x="4725777" y="5984830"/>
              <a:ext cx="2874156" cy="430887"/>
              <a:chOff x="5169197" y="5687222"/>
              <a:chExt cx="2874156" cy="430887"/>
            </a:xfrm>
          </p:grpSpPr>
          <p:sp>
            <p:nvSpPr>
              <p:cNvPr id="105" name="Rectangle 18">
                <a:extLst>
                  <a:ext uri="{FF2B5EF4-FFF2-40B4-BE49-F238E27FC236}">
                    <a16:creationId xmlns:a16="http://schemas.microsoft.com/office/drawing/2014/main" id="{4661E152-42E0-4356-8386-3FD2304D315F}"/>
                  </a:ext>
                </a:extLst>
              </p:cNvPr>
              <p:cNvSpPr/>
              <p:nvPr/>
            </p:nvSpPr>
            <p:spPr>
              <a:xfrm>
                <a:off x="5169197" y="5687222"/>
                <a:ext cx="450553" cy="430887"/>
              </a:xfrm>
              <a:prstGeom prst="rect">
                <a:avLst/>
              </a:prstGeom>
              <a:solidFill>
                <a:srgbClr val="595959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82FFCA83-8E85-4034-97D4-527CD49102FC}"/>
                  </a:ext>
                </a:extLst>
              </p:cNvPr>
              <p:cNvSpPr txBox="1"/>
              <p:nvPr/>
            </p:nvSpPr>
            <p:spPr>
              <a:xfrm>
                <a:off x="5819081" y="5687222"/>
                <a:ext cx="2224272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 </a:t>
                </a:r>
                <a:r>
                  <a:rPr lang="ru-RU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групп и</a:t>
                </a:r>
              </a:p>
              <a:p>
                <a:r>
                  <a:rPr lang="ru-RU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7 </a:t>
                </a:r>
                <a:r>
                  <a:rPr lang="ru-RU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классных коллективов</a:t>
                </a:r>
                <a:endPara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9" name="Round Same Side Corner Rectangle 6">
              <a:extLst>
                <a:ext uri="{FF2B5EF4-FFF2-40B4-BE49-F238E27FC236}">
                  <a16:creationId xmlns:a16="http://schemas.microsoft.com/office/drawing/2014/main" id="{11207448-F26A-4EF1-8764-2D6798600849}"/>
                </a:ext>
              </a:extLst>
            </p:cNvPr>
            <p:cNvSpPr/>
            <p:nvPr/>
          </p:nvSpPr>
          <p:spPr>
            <a:xfrm rot="2700000" flipH="1">
              <a:off x="4904673" y="6014329"/>
              <a:ext cx="92760" cy="371885"/>
            </a:xfrm>
            <a:custGeom>
              <a:avLst/>
              <a:gdLst/>
              <a:ahLst/>
              <a:cxnLst/>
              <a:rect l="l" t="t" r="r" b="b"/>
              <a:pathLst>
                <a:path w="1035916" h="4153123">
                  <a:moveTo>
                    <a:pt x="277501" y="3759099"/>
                  </a:moveTo>
                  <a:lnTo>
                    <a:pt x="758408" y="3759099"/>
                  </a:lnTo>
                  <a:lnTo>
                    <a:pt x="517954" y="4153123"/>
                  </a:lnTo>
                  <a:close/>
                  <a:moveTo>
                    <a:pt x="42612" y="2944898"/>
                  </a:moveTo>
                  <a:cubicBezTo>
                    <a:pt x="153922" y="2941505"/>
                    <a:pt x="246502" y="2889483"/>
                    <a:pt x="275675" y="2819018"/>
                  </a:cubicBezTo>
                  <a:cubicBezTo>
                    <a:pt x="304648" y="2892614"/>
                    <a:pt x="403763" y="2945872"/>
                    <a:pt x="521107" y="2945872"/>
                  </a:cubicBezTo>
                  <a:cubicBezTo>
                    <a:pt x="638453" y="2945872"/>
                    <a:pt x="737567" y="2892613"/>
                    <a:pt x="766540" y="2819017"/>
                  </a:cubicBezTo>
                  <a:cubicBezTo>
                    <a:pt x="795133" y="2888142"/>
                    <a:pt x="884783" y="2939514"/>
                    <a:pt x="993299" y="2944464"/>
                  </a:cubicBezTo>
                  <a:lnTo>
                    <a:pt x="776840" y="3657264"/>
                  </a:lnTo>
                  <a:lnTo>
                    <a:pt x="258940" y="3657264"/>
                  </a:lnTo>
                  <a:close/>
                  <a:moveTo>
                    <a:pt x="809102" y="564558"/>
                  </a:moveTo>
                  <a:lnTo>
                    <a:pt x="1035914" y="564558"/>
                  </a:lnTo>
                  <a:lnTo>
                    <a:pt x="1035915" y="2838682"/>
                  </a:lnTo>
                  <a:cubicBezTo>
                    <a:pt x="1029586" y="2840409"/>
                    <a:pt x="1023074" y="2840731"/>
                    <a:pt x="1016490" y="2840731"/>
                  </a:cubicBezTo>
                  <a:cubicBezTo>
                    <a:pt x="901952" y="2840731"/>
                    <a:pt x="809102" y="2743612"/>
                    <a:pt x="809101" y="2623810"/>
                  </a:cubicBezTo>
                  <a:close/>
                  <a:moveTo>
                    <a:pt x="310569" y="564558"/>
                  </a:moveTo>
                  <a:lnTo>
                    <a:pt x="725347" y="564558"/>
                  </a:lnTo>
                  <a:lnTo>
                    <a:pt x="725347" y="2633342"/>
                  </a:lnTo>
                  <a:cubicBezTo>
                    <a:pt x="725347" y="2747880"/>
                    <a:pt x="632496" y="2840731"/>
                    <a:pt x="517958" y="2840731"/>
                  </a:cubicBezTo>
                  <a:cubicBezTo>
                    <a:pt x="403420" y="2840731"/>
                    <a:pt x="310569" y="2747880"/>
                    <a:pt x="310569" y="2633342"/>
                  </a:cubicBezTo>
                  <a:close/>
                  <a:moveTo>
                    <a:pt x="0" y="564557"/>
                  </a:moveTo>
                  <a:lnTo>
                    <a:pt x="226813" y="564557"/>
                  </a:lnTo>
                  <a:lnTo>
                    <a:pt x="226813" y="2623810"/>
                  </a:lnTo>
                  <a:cubicBezTo>
                    <a:pt x="226813" y="2743612"/>
                    <a:pt x="133962" y="2840731"/>
                    <a:pt x="19424" y="2840730"/>
                  </a:cubicBezTo>
                  <a:cubicBezTo>
                    <a:pt x="12841" y="2840730"/>
                    <a:pt x="6329" y="2840409"/>
                    <a:pt x="0" y="2838682"/>
                  </a:cubicBezTo>
                  <a:close/>
                  <a:moveTo>
                    <a:pt x="71964" y="71964"/>
                  </a:moveTo>
                  <a:cubicBezTo>
                    <a:pt x="116427" y="27501"/>
                    <a:pt x="177852" y="0"/>
                    <a:pt x="245701" y="0"/>
                  </a:cubicBezTo>
                  <a:lnTo>
                    <a:pt x="790215" y="0"/>
                  </a:lnTo>
                  <a:cubicBezTo>
                    <a:pt x="925912" y="0"/>
                    <a:pt x="1035916" y="110004"/>
                    <a:pt x="1035916" y="245701"/>
                  </a:cubicBezTo>
                  <a:cubicBezTo>
                    <a:pt x="1035916" y="327601"/>
                    <a:pt x="1035915" y="409501"/>
                    <a:pt x="1035915" y="491401"/>
                  </a:cubicBezTo>
                  <a:lnTo>
                    <a:pt x="0" y="491401"/>
                  </a:lnTo>
                  <a:lnTo>
                    <a:pt x="0" y="245701"/>
                  </a:lnTo>
                  <a:cubicBezTo>
                    <a:pt x="0" y="177853"/>
                    <a:pt x="27501" y="116427"/>
                    <a:pt x="71964" y="7196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854844" y="5914690"/>
            <a:ext cx="2219188" cy="430887"/>
            <a:chOff x="1244578" y="5984830"/>
            <a:chExt cx="2219188" cy="430887"/>
          </a:xfrm>
        </p:grpSpPr>
        <p:grpSp>
          <p:nvGrpSpPr>
            <p:cNvPr id="101" name="Group 11">
              <a:extLst>
                <a:ext uri="{FF2B5EF4-FFF2-40B4-BE49-F238E27FC236}">
                  <a16:creationId xmlns:a16="http://schemas.microsoft.com/office/drawing/2014/main" id="{37874287-E55B-40A5-9E2F-DF8FA9C00D65}"/>
                </a:ext>
              </a:extLst>
            </p:cNvPr>
            <p:cNvGrpSpPr/>
            <p:nvPr/>
          </p:nvGrpSpPr>
          <p:grpSpPr>
            <a:xfrm>
              <a:off x="1244578" y="5984830"/>
              <a:ext cx="2219188" cy="430887"/>
              <a:chOff x="1711622" y="5687222"/>
              <a:chExt cx="2219188" cy="430887"/>
            </a:xfrm>
          </p:grpSpPr>
          <p:sp>
            <p:nvSpPr>
              <p:cNvPr id="102" name="Rectangle 8">
                <a:extLst>
                  <a:ext uri="{FF2B5EF4-FFF2-40B4-BE49-F238E27FC236}">
                    <a16:creationId xmlns:a16="http://schemas.microsoft.com/office/drawing/2014/main" id="{BE8DB1EC-44D8-44F7-9FA1-0727ACF8EC8D}"/>
                  </a:ext>
                </a:extLst>
              </p:cNvPr>
              <p:cNvSpPr/>
              <p:nvPr/>
            </p:nvSpPr>
            <p:spPr>
              <a:xfrm>
                <a:off x="1711622" y="5687222"/>
                <a:ext cx="450553" cy="430887"/>
              </a:xfrm>
              <a:prstGeom prst="rect">
                <a:avLst/>
              </a:prstGeom>
              <a:solidFill>
                <a:srgbClr val="262626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E208760A-3C1D-496E-9208-D46D6458FB9B}"/>
                  </a:ext>
                </a:extLst>
              </p:cNvPr>
              <p:cNvSpPr txBox="1"/>
              <p:nvPr/>
            </p:nvSpPr>
            <p:spPr>
              <a:xfrm>
                <a:off x="2343150" y="5687222"/>
                <a:ext cx="1587660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63</a:t>
                </a:r>
                <a:r>
                  <a:rPr lang="ru-RU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учащихся</a:t>
                </a:r>
              </a:p>
              <a:p>
                <a:r>
                  <a:rPr lang="ru-RU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 воспитанников</a:t>
                </a:r>
                <a:endPara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20" name="Round Same Side Corner Rectangle 6">
              <a:extLst>
                <a:ext uri="{FF2B5EF4-FFF2-40B4-BE49-F238E27FC236}">
                  <a16:creationId xmlns:a16="http://schemas.microsoft.com/office/drawing/2014/main" id="{11207448-F26A-4EF1-8764-2D6798600849}"/>
                </a:ext>
              </a:extLst>
            </p:cNvPr>
            <p:cNvSpPr/>
            <p:nvPr/>
          </p:nvSpPr>
          <p:spPr>
            <a:xfrm rot="2700000" flipH="1">
              <a:off x="1423475" y="6019259"/>
              <a:ext cx="92760" cy="371885"/>
            </a:xfrm>
            <a:custGeom>
              <a:avLst/>
              <a:gdLst/>
              <a:ahLst/>
              <a:cxnLst/>
              <a:rect l="l" t="t" r="r" b="b"/>
              <a:pathLst>
                <a:path w="1035916" h="4153123">
                  <a:moveTo>
                    <a:pt x="277501" y="3759099"/>
                  </a:moveTo>
                  <a:lnTo>
                    <a:pt x="758408" y="3759099"/>
                  </a:lnTo>
                  <a:lnTo>
                    <a:pt x="517954" y="4153123"/>
                  </a:lnTo>
                  <a:close/>
                  <a:moveTo>
                    <a:pt x="42612" y="2944898"/>
                  </a:moveTo>
                  <a:cubicBezTo>
                    <a:pt x="153922" y="2941505"/>
                    <a:pt x="246502" y="2889483"/>
                    <a:pt x="275675" y="2819018"/>
                  </a:cubicBezTo>
                  <a:cubicBezTo>
                    <a:pt x="304648" y="2892614"/>
                    <a:pt x="403763" y="2945872"/>
                    <a:pt x="521107" y="2945872"/>
                  </a:cubicBezTo>
                  <a:cubicBezTo>
                    <a:pt x="638453" y="2945872"/>
                    <a:pt x="737567" y="2892613"/>
                    <a:pt x="766540" y="2819017"/>
                  </a:cubicBezTo>
                  <a:cubicBezTo>
                    <a:pt x="795133" y="2888142"/>
                    <a:pt x="884783" y="2939514"/>
                    <a:pt x="993299" y="2944464"/>
                  </a:cubicBezTo>
                  <a:lnTo>
                    <a:pt x="776840" y="3657264"/>
                  </a:lnTo>
                  <a:lnTo>
                    <a:pt x="258940" y="3657264"/>
                  </a:lnTo>
                  <a:close/>
                  <a:moveTo>
                    <a:pt x="809102" y="564558"/>
                  </a:moveTo>
                  <a:lnTo>
                    <a:pt x="1035914" y="564558"/>
                  </a:lnTo>
                  <a:lnTo>
                    <a:pt x="1035915" y="2838682"/>
                  </a:lnTo>
                  <a:cubicBezTo>
                    <a:pt x="1029586" y="2840409"/>
                    <a:pt x="1023074" y="2840731"/>
                    <a:pt x="1016490" y="2840731"/>
                  </a:cubicBezTo>
                  <a:cubicBezTo>
                    <a:pt x="901952" y="2840731"/>
                    <a:pt x="809102" y="2743612"/>
                    <a:pt x="809101" y="2623810"/>
                  </a:cubicBezTo>
                  <a:close/>
                  <a:moveTo>
                    <a:pt x="310569" y="564558"/>
                  </a:moveTo>
                  <a:lnTo>
                    <a:pt x="725347" y="564558"/>
                  </a:lnTo>
                  <a:lnTo>
                    <a:pt x="725347" y="2633342"/>
                  </a:lnTo>
                  <a:cubicBezTo>
                    <a:pt x="725347" y="2747880"/>
                    <a:pt x="632496" y="2840731"/>
                    <a:pt x="517958" y="2840731"/>
                  </a:cubicBezTo>
                  <a:cubicBezTo>
                    <a:pt x="403420" y="2840731"/>
                    <a:pt x="310569" y="2747880"/>
                    <a:pt x="310569" y="2633342"/>
                  </a:cubicBezTo>
                  <a:close/>
                  <a:moveTo>
                    <a:pt x="0" y="564557"/>
                  </a:moveTo>
                  <a:lnTo>
                    <a:pt x="226813" y="564557"/>
                  </a:lnTo>
                  <a:lnTo>
                    <a:pt x="226813" y="2623810"/>
                  </a:lnTo>
                  <a:cubicBezTo>
                    <a:pt x="226813" y="2743612"/>
                    <a:pt x="133962" y="2840731"/>
                    <a:pt x="19424" y="2840730"/>
                  </a:cubicBezTo>
                  <a:cubicBezTo>
                    <a:pt x="12841" y="2840730"/>
                    <a:pt x="6329" y="2840409"/>
                    <a:pt x="0" y="2838682"/>
                  </a:cubicBezTo>
                  <a:close/>
                  <a:moveTo>
                    <a:pt x="71964" y="71964"/>
                  </a:moveTo>
                  <a:cubicBezTo>
                    <a:pt x="116427" y="27501"/>
                    <a:pt x="177852" y="0"/>
                    <a:pt x="245701" y="0"/>
                  </a:cubicBezTo>
                  <a:lnTo>
                    <a:pt x="790215" y="0"/>
                  </a:lnTo>
                  <a:cubicBezTo>
                    <a:pt x="925912" y="0"/>
                    <a:pt x="1035916" y="110004"/>
                    <a:pt x="1035916" y="245701"/>
                  </a:cubicBezTo>
                  <a:cubicBezTo>
                    <a:pt x="1035916" y="327601"/>
                    <a:pt x="1035915" y="409501"/>
                    <a:pt x="1035915" y="491401"/>
                  </a:cubicBezTo>
                  <a:lnTo>
                    <a:pt x="0" y="491401"/>
                  </a:lnTo>
                  <a:lnTo>
                    <a:pt x="0" y="245701"/>
                  </a:lnTo>
                  <a:cubicBezTo>
                    <a:pt x="0" y="177853"/>
                    <a:pt x="27501" y="116427"/>
                    <a:pt x="71964" y="7196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</p:grpSp>
      <p:sp>
        <p:nvSpPr>
          <p:cNvPr id="40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880970" y="667494"/>
            <a:ext cx="911385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ингент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854844" y="5742420"/>
            <a:ext cx="8411995" cy="0"/>
          </a:xfrm>
          <a:prstGeom prst="line">
            <a:avLst/>
          </a:prstGeom>
          <a:ln>
            <a:solidFill>
              <a:srgbClr val="088A5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49" name="Прямоугольник 48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51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Рисунок 51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0495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530B8AA2-1CEE-41CF-84A9-9EE2FF2CEFA6}"/>
              </a:ext>
            </a:extLst>
          </p:cNvPr>
          <p:cNvSpPr txBox="1"/>
          <p:nvPr/>
        </p:nvSpPr>
        <p:spPr>
          <a:xfrm>
            <a:off x="1162015" y="3725862"/>
            <a:ext cx="2803046" cy="246221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1 педагог</a:t>
            </a:r>
            <a:endParaRPr lang="en-US" sz="1600" dirty="0"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B0D78A-622F-4DE4-B7D0-7F4D92218FF2}"/>
              </a:ext>
            </a:extLst>
          </p:cNvPr>
          <p:cNvSpPr txBox="1"/>
          <p:nvPr/>
        </p:nvSpPr>
        <p:spPr>
          <a:xfrm>
            <a:off x="1162015" y="3393794"/>
            <a:ext cx="2571985" cy="307777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История</a:t>
            </a:r>
            <a:endParaRPr lang="en-US" sz="2000" dirty="0"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31" name="AutoShape 110">
            <a:extLst>
              <a:ext uri="{FF2B5EF4-FFF2-40B4-BE49-F238E27FC236}">
                <a16:creationId xmlns:a16="http://schemas.microsoft.com/office/drawing/2014/main" id="{4DBF38B5-941B-4B20-A8AF-23FD36DB2FA7}"/>
              </a:ext>
            </a:extLst>
          </p:cNvPr>
          <p:cNvSpPr>
            <a:spLocks/>
          </p:cNvSpPr>
          <p:nvPr/>
        </p:nvSpPr>
        <p:spPr bwMode="auto">
          <a:xfrm>
            <a:off x="2496433" y="3103015"/>
            <a:ext cx="173689" cy="11619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0699" y="20255"/>
                </a:moveTo>
                <a:lnTo>
                  <a:pt x="899" y="20255"/>
                </a:lnTo>
                <a:lnTo>
                  <a:pt x="899" y="1350"/>
                </a:lnTo>
                <a:lnTo>
                  <a:pt x="20699" y="1350"/>
                </a:lnTo>
                <a:cubicBezTo>
                  <a:pt x="20699" y="1350"/>
                  <a:pt x="20699" y="20255"/>
                  <a:pt x="20699" y="20255"/>
                </a:cubicBezTo>
                <a:close/>
                <a:moveTo>
                  <a:pt x="20699" y="0"/>
                </a:moveTo>
                <a:lnTo>
                  <a:pt x="899" y="5"/>
                </a:lnTo>
                <a:cubicBezTo>
                  <a:pt x="402" y="5"/>
                  <a:pt x="0" y="603"/>
                  <a:pt x="0" y="1350"/>
                </a:cubicBezTo>
                <a:lnTo>
                  <a:pt x="0" y="20249"/>
                </a:lnTo>
                <a:cubicBezTo>
                  <a:pt x="0" y="20996"/>
                  <a:pt x="402" y="21599"/>
                  <a:pt x="899" y="21599"/>
                </a:cubicBezTo>
                <a:lnTo>
                  <a:pt x="20699" y="21599"/>
                </a:lnTo>
                <a:cubicBezTo>
                  <a:pt x="21197" y="21599"/>
                  <a:pt x="21600" y="20996"/>
                  <a:pt x="21600" y="20249"/>
                </a:cubicBezTo>
                <a:lnTo>
                  <a:pt x="21600" y="1350"/>
                </a:lnTo>
                <a:cubicBezTo>
                  <a:pt x="21600" y="603"/>
                  <a:pt x="21197" y="0"/>
                  <a:pt x="20699" y="0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lIns="19045" tIns="19045" rIns="19045" bIns="19045" anchor="ctr"/>
          <a:lstStyle/>
          <a:p>
            <a:pPr algn="ctr" defTabSz="228543" eaLnBrk="1">
              <a:defRPr/>
            </a:pPr>
            <a:endParaRPr lang="en-US" sz="12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sym typeface="Gill Sans" charset="0"/>
            </a:endParaRPr>
          </a:p>
        </p:txBody>
      </p:sp>
      <p:grpSp>
        <p:nvGrpSpPr>
          <p:cNvPr id="140" name="Группа 139"/>
          <p:cNvGrpSpPr/>
          <p:nvPr/>
        </p:nvGrpSpPr>
        <p:grpSpPr>
          <a:xfrm>
            <a:off x="1258670" y="4015420"/>
            <a:ext cx="1812127" cy="442382"/>
            <a:chOff x="1345808" y="2947031"/>
            <a:chExt cx="1812127" cy="442382"/>
          </a:xfrm>
        </p:grpSpPr>
        <p:sp>
          <p:nvSpPr>
            <p:cNvPr id="26" name="Rectangle 23">
              <a:extLst>
                <a:ext uri="{FF2B5EF4-FFF2-40B4-BE49-F238E27FC236}">
                  <a16:creationId xmlns:a16="http://schemas.microsoft.com/office/drawing/2014/main" id="{8313F4D0-A2E8-409A-8831-9FB794595639}"/>
                </a:ext>
              </a:extLst>
            </p:cNvPr>
            <p:cNvSpPr/>
            <p:nvPr/>
          </p:nvSpPr>
          <p:spPr>
            <a:xfrm>
              <a:off x="1345808" y="2947031"/>
              <a:ext cx="1812127" cy="442382"/>
            </a:xfrm>
            <a:prstGeom prst="rect">
              <a:avLst/>
            </a:prstGeom>
            <a:pattFill prst="pct25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400"/>
            </a:p>
          </p:txBody>
        </p:sp>
        <p:sp>
          <p:nvSpPr>
            <p:cNvPr id="33" name="AutoShape 43">
              <a:extLst>
                <a:ext uri="{FF2B5EF4-FFF2-40B4-BE49-F238E27FC236}">
                  <a16:creationId xmlns:a16="http://schemas.microsoft.com/office/drawing/2014/main" id="{FBC351F2-BA6E-4030-8DC1-D77936B1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0243" y="3077727"/>
              <a:ext cx="232379" cy="16694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951" y="9367"/>
                  </a:moveTo>
                  <a:cubicBezTo>
                    <a:pt x="10901" y="9383"/>
                    <a:pt x="10851" y="9391"/>
                    <a:pt x="10800" y="9391"/>
                  </a:cubicBezTo>
                  <a:cubicBezTo>
                    <a:pt x="10748" y="9391"/>
                    <a:pt x="10698" y="9383"/>
                    <a:pt x="10648" y="9367"/>
                  </a:cubicBezTo>
                  <a:lnTo>
                    <a:pt x="1873" y="6550"/>
                  </a:lnTo>
                  <a:cubicBezTo>
                    <a:pt x="1566" y="6452"/>
                    <a:pt x="1349" y="6072"/>
                    <a:pt x="1349" y="5634"/>
                  </a:cubicBezTo>
                  <a:cubicBezTo>
                    <a:pt x="1349" y="5197"/>
                    <a:pt x="1566" y="4817"/>
                    <a:pt x="1873" y="4719"/>
                  </a:cubicBezTo>
                  <a:lnTo>
                    <a:pt x="10648" y="1902"/>
                  </a:lnTo>
                  <a:cubicBezTo>
                    <a:pt x="10698" y="1886"/>
                    <a:pt x="10748" y="1878"/>
                    <a:pt x="10800" y="1878"/>
                  </a:cubicBezTo>
                  <a:cubicBezTo>
                    <a:pt x="10851" y="1878"/>
                    <a:pt x="10901" y="1886"/>
                    <a:pt x="10951" y="1902"/>
                  </a:cubicBezTo>
                  <a:lnTo>
                    <a:pt x="19726" y="4719"/>
                  </a:lnTo>
                  <a:cubicBezTo>
                    <a:pt x="20033" y="4817"/>
                    <a:pt x="20249" y="5197"/>
                    <a:pt x="20249" y="5634"/>
                  </a:cubicBezTo>
                  <a:cubicBezTo>
                    <a:pt x="20249" y="6072"/>
                    <a:pt x="20033" y="6452"/>
                    <a:pt x="19726" y="6550"/>
                  </a:cubicBezTo>
                  <a:cubicBezTo>
                    <a:pt x="19726" y="6550"/>
                    <a:pt x="10951" y="9367"/>
                    <a:pt x="10951" y="9367"/>
                  </a:cubicBezTo>
                  <a:close/>
                  <a:moveTo>
                    <a:pt x="16874" y="16904"/>
                  </a:moveTo>
                  <a:cubicBezTo>
                    <a:pt x="16874" y="17942"/>
                    <a:pt x="14849" y="19721"/>
                    <a:pt x="10800" y="19721"/>
                  </a:cubicBezTo>
                  <a:cubicBezTo>
                    <a:pt x="6749" y="19721"/>
                    <a:pt x="4724" y="17942"/>
                    <a:pt x="4724" y="16904"/>
                  </a:cubicBezTo>
                  <a:lnTo>
                    <a:pt x="4724" y="9394"/>
                  </a:lnTo>
                  <a:lnTo>
                    <a:pt x="10353" y="11200"/>
                  </a:lnTo>
                  <a:cubicBezTo>
                    <a:pt x="10501" y="11246"/>
                    <a:pt x="10651" y="11269"/>
                    <a:pt x="10800" y="11269"/>
                  </a:cubicBezTo>
                  <a:cubicBezTo>
                    <a:pt x="10949" y="11269"/>
                    <a:pt x="11098" y="11246"/>
                    <a:pt x="11255" y="11198"/>
                  </a:cubicBezTo>
                  <a:lnTo>
                    <a:pt x="16874" y="9394"/>
                  </a:lnTo>
                  <a:cubicBezTo>
                    <a:pt x="16874" y="9394"/>
                    <a:pt x="16874" y="16904"/>
                    <a:pt x="16874" y="16904"/>
                  </a:cubicBezTo>
                  <a:close/>
                  <a:moveTo>
                    <a:pt x="21600" y="5634"/>
                  </a:moveTo>
                  <a:cubicBezTo>
                    <a:pt x="21600" y="4314"/>
                    <a:pt x="20954" y="3185"/>
                    <a:pt x="20030" y="2888"/>
                  </a:cubicBezTo>
                  <a:lnTo>
                    <a:pt x="11246" y="68"/>
                  </a:lnTo>
                  <a:cubicBezTo>
                    <a:pt x="11098" y="22"/>
                    <a:pt x="10949" y="0"/>
                    <a:pt x="10800" y="0"/>
                  </a:cubicBezTo>
                  <a:cubicBezTo>
                    <a:pt x="10651" y="0"/>
                    <a:pt x="10501" y="22"/>
                    <a:pt x="10344" y="71"/>
                  </a:cubicBezTo>
                  <a:lnTo>
                    <a:pt x="1570" y="2888"/>
                  </a:lnTo>
                  <a:cubicBezTo>
                    <a:pt x="645" y="3185"/>
                    <a:pt x="0" y="4314"/>
                    <a:pt x="0" y="5634"/>
                  </a:cubicBezTo>
                  <a:cubicBezTo>
                    <a:pt x="0" y="6955"/>
                    <a:pt x="645" y="8084"/>
                    <a:pt x="1569" y="8380"/>
                  </a:cubicBezTo>
                  <a:lnTo>
                    <a:pt x="3374" y="8960"/>
                  </a:lnTo>
                  <a:lnTo>
                    <a:pt x="3374" y="16904"/>
                  </a:lnTo>
                  <a:cubicBezTo>
                    <a:pt x="3374" y="19397"/>
                    <a:pt x="5425" y="21600"/>
                    <a:pt x="10800" y="21600"/>
                  </a:cubicBezTo>
                  <a:cubicBezTo>
                    <a:pt x="16174" y="21600"/>
                    <a:pt x="18224" y="19397"/>
                    <a:pt x="18224" y="16904"/>
                  </a:cubicBezTo>
                  <a:lnTo>
                    <a:pt x="18224" y="8960"/>
                  </a:lnTo>
                  <a:lnTo>
                    <a:pt x="20030" y="8380"/>
                  </a:lnTo>
                  <a:cubicBezTo>
                    <a:pt x="20954" y="8084"/>
                    <a:pt x="21600" y="6955"/>
                    <a:pt x="21600" y="563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543" eaLnBrk="1">
                <a:defRPr/>
              </a:pPr>
              <a:endParaRPr lang="en-US"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  <p:sp>
          <p:nvSpPr>
            <p:cNvPr id="32" name="AutoShape 111">
              <a:extLst>
                <a:ext uri="{FF2B5EF4-FFF2-40B4-BE49-F238E27FC236}">
                  <a16:creationId xmlns:a16="http://schemas.microsoft.com/office/drawing/2014/main" id="{29C376FE-3330-4556-80D4-3D40AC927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0763" y="3070390"/>
              <a:ext cx="232379" cy="21770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249" y="16562"/>
                  </a:moveTo>
                  <a:cubicBezTo>
                    <a:pt x="20249" y="16959"/>
                    <a:pt x="19946" y="17282"/>
                    <a:pt x="19575" y="17282"/>
                  </a:cubicBezTo>
                  <a:lnTo>
                    <a:pt x="13499" y="17282"/>
                  </a:lnTo>
                  <a:lnTo>
                    <a:pt x="8099" y="17282"/>
                  </a:lnTo>
                  <a:lnTo>
                    <a:pt x="2024" y="17282"/>
                  </a:lnTo>
                  <a:cubicBezTo>
                    <a:pt x="1651" y="17282"/>
                    <a:pt x="1349" y="16959"/>
                    <a:pt x="1349" y="16562"/>
                  </a:cubicBezTo>
                  <a:lnTo>
                    <a:pt x="1349" y="2160"/>
                  </a:lnTo>
                  <a:cubicBezTo>
                    <a:pt x="1349" y="1762"/>
                    <a:pt x="1651" y="1440"/>
                    <a:pt x="2024" y="1440"/>
                  </a:cubicBezTo>
                  <a:lnTo>
                    <a:pt x="19575" y="1440"/>
                  </a:lnTo>
                  <a:cubicBezTo>
                    <a:pt x="19946" y="1440"/>
                    <a:pt x="20249" y="1762"/>
                    <a:pt x="20249" y="2160"/>
                  </a:cubicBezTo>
                  <a:cubicBezTo>
                    <a:pt x="20249" y="2160"/>
                    <a:pt x="20249" y="16562"/>
                    <a:pt x="20249" y="16562"/>
                  </a:cubicBezTo>
                  <a:close/>
                  <a:moveTo>
                    <a:pt x="19575" y="0"/>
                  </a:moveTo>
                  <a:lnTo>
                    <a:pt x="2024" y="0"/>
                  </a:lnTo>
                  <a:cubicBezTo>
                    <a:pt x="905" y="0"/>
                    <a:pt x="0" y="966"/>
                    <a:pt x="0" y="2160"/>
                  </a:cubicBezTo>
                  <a:lnTo>
                    <a:pt x="0" y="16562"/>
                  </a:lnTo>
                  <a:cubicBezTo>
                    <a:pt x="0" y="17753"/>
                    <a:pt x="903" y="18718"/>
                    <a:pt x="2018" y="18721"/>
                  </a:cubicBezTo>
                  <a:lnTo>
                    <a:pt x="8774" y="18721"/>
                  </a:lnTo>
                  <a:lnTo>
                    <a:pt x="8774" y="19597"/>
                  </a:lnTo>
                  <a:lnTo>
                    <a:pt x="4561" y="20181"/>
                  </a:lnTo>
                  <a:cubicBezTo>
                    <a:pt x="4260" y="20262"/>
                    <a:pt x="4049" y="20549"/>
                    <a:pt x="4049" y="20879"/>
                  </a:cubicBezTo>
                  <a:cubicBezTo>
                    <a:pt x="4049" y="21277"/>
                    <a:pt x="4351" y="21599"/>
                    <a:pt x="4724" y="21599"/>
                  </a:cubicBezTo>
                  <a:lnTo>
                    <a:pt x="16874" y="21599"/>
                  </a:lnTo>
                  <a:cubicBezTo>
                    <a:pt x="17248" y="21599"/>
                    <a:pt x="17549" y="21277"/>
                    <a:pt x="17549" y="20879"/>
                  </a:cubicBezTo>
                  <a:cubicBezTo>
                    <a:pt x="17549" y="20549"/>
                    <a:pt x="17339" y="20262"/>
                    <a:pt x="17038" y="20181"/>
                  </a:cubicBezTo>
                  <a:lnTo>
                    <a:pt x="12824" y="19597"/>
                  </a:lnTo>
                  <a:lnTo>
                    <a:pt x="12824" y="18721"/>
                  </a:lnTo>
                  <a:lnTo>
                    <a:pt x="19581" y="18721"/>
                  </a:lnTo>
                  <a:cubicBezTo>
                    <a:pt x="20696" y="18718"/>
                    <a:pt x="21600" y="17753"/>
                    <a:pt x="21600" y="16562"/>
                  </a:cubicBezTo>
                  <a:lnTo>
                    <a:pt x="21600" y="2160"/>
                  </a:lnTo>
                  <a:cubicBezTo>
                    <a:pt x="21600" y="966"/>
                    <a:pt x="20692" y="0"/>
                    <a:pt x="19575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543" eaLnBrk="1">
                <a:defRPr/>
              </a:pPr>
              <a:endParaRPr lang="en-US"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  <p:sp>
          <p:nvSpPr>
            <p:cNvPr id="30" name="AutoShape 112">
              <a:extLst>
                <a:ext uri="{FF2B5EF4-FFF2-40B4-BE49-F238E27FC236}">
                  <a16:creationId xmlns:a16="http://schemas.microsoft.com/office/drawing/2014/main" id="{C6AD4A49-51BD-4F45-86F5-E31068768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1510" y="3055945"/>
              <a:ext cx="232249" cy="232249"/>
            </a:xfrm>
            <a:custGeom>
              <a:avLst/>
              <a:gdLst>
                <a:gd name="T0" fmla="*/ 10510 w 21020"/>
                <a:gd name="T1" fmla="*/ 10800 h 21600"/>
                <a:gd name="T2" fmla="*/ 10510 w 21020"/>
                <a:gd name="T3" fmla="*/ 10800 h 21600"/>
                <a:gd name="T4" fmla="*/ 10510 w 21020"/>
                <a:gd name="T5" fmla="*/ 10800 h 21600"/>
                <a:gd name="T6" fmla="*/ 10510 w 2102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20" h="21600">
                  <a:moveTo>
                    <a:pt x="18846" y="7946"/>
                  </a:moveTo>
                  <a:lnTo>
                    <a:pt x="17740" y="9091"/>
                  </a:lnTo>
                  <a:cubicBezTo>
                    <a:pt x="17740" y="8939"/>
                    <a:pt x="17758" y="8792"/>
                    <a:pt x="17744" y="8636"/>
                  </a:cubicBezTo>
                  <a:cubicBezTo>
                    <a:pt x="17629" y="7331"/>
                    <a:pt x="17036" y="6068"/>
                    <a:pt x="16074" y="5080"/>
                  </a:cubicBezTo>
                  <a:cubicBezTo>
                    <a:pt x="15004" y="3980"/>
                    <a:pt x="13585" y="3348"/>
                    <a:pt x="12180" y="3345"/>
                  </a:cubicBezTo>
                  <a:lnTo>
                    <a:pt x="13268" y="2218"/>
                  </a:lnTo>
                  <a:cubicBezTo>
                    <a:pt x="13812" y="1659"/>
                    <a:pt x="14572" y="1350"/>
                    <a:pt x="15403" y="1350"/>
                  </a:cubicBezTo>
                  <a:cubicBezTo>
                    <a:pt x="16460" y="1350"/>
                    <a:pt x="17546" y="1840"/>
                    <a:pt x="18381" y="2696"/>
                  </a:cubicBezTo>
                  <a:cubicBezTo>
                    <a:pt x="19165" y="3500"/>
                    <a:pt x="19631" y="4499"/>
                    <a:pt x="19698" y="5510"/>
                  </a:cubicBezTo>
                  <a:cubicBezTo>
                    <a:pt x="19760" y="6453"/>
                    <a:pt x="19457" y="7317"/>
                    <a:pt x="18846" y="7946"/>
                  </a:cubicBezTo>
                  <a:moveTo>
                    <a:pt x="5828" y="19329"/>
                  </a:moveTo>
                  <a:cubicBezTo>
                    <a:pt x="5813" y="18424"/>
                    <a:pt x="5454" y="17481"/>
                    <a:pt x="4730" y="16739"/>
                  </a:cubicBezTo>
                  <a:cubicBezTo>
                    <a:pt x="4046" y="16034"/>
                    <a:pt x="3150" y="15628"/>
                    <a:pt x="2257" y="15592"/>
                  </a:cubicBezTo>
                  <a:lnTo>
                    <a:pt x="2911" y="13157"/>
                  </a:lnTo>
                  <a:cubicBezTo>
                    <a:pt x="2959" y="12995"/>
                    <a:pt x="3052" y="12835"/>
                    <a:pt x="3168" y="12695"/>
                  </a:cubicBezTo>
                  <a:cubicBezTo>
                    <a:pt x="4485" y="11726"/>
                    <a:pt x="6512" y="12012"/>
                    <a:pt x="7920" y="13460"/>
                  </a:cubicBezTo>
                  <a:cubicBezTo>
                    <a:pt x="9409" y="14990"/>
                    <a:pt x="9639" y="17230"/>
                    <a:pt x="8492" y="18568"/>
                  </a:cubicBezTo>
                  <a:cubicBezTo>
                    <a:pt x="8416" y="18609"/>
                    <a:pt x="8339" y="18648"/>
                    <a:pt x="8256" y="18675"/>
                  </a:cubicBezTo>
                  <a:cubicBezTo>
                    <a:pt x="8256" y="18675"/>
                    <a:pt x="5828" y="19329"/>
                    <a:pt x="5828" y="19329"/>
                  </a:cubicBezTo>
                  <a:close/>
                  <a:moveTo>
                    <a:pt x="2737" y="20164"/>
                  </a:moveTo>
                  <a:cubicBezTo>
                    <a:pt x="2665" y="20181"/>
                    <a:pt x="2443" y="20239"/>
                    <a:pt x="2291" y="20249"/>
                  </a:cubicBezTo>
                  <a:cubicBezTo>
                    <a:pt x="1751" y="20244"/>
                    <a:pt x="1313" y="19792"/>
                    <a:pt x="1313" y="19237"/>
                  </a:cubicBezTo>
                  <a:cubicBezTo>
                    <a:pt x="1321" y="19124"/>
                    <a:pt x="1365" y="18929"/>
                    <a:pt x="1380" y="18857"/>
                  </a:cubicBezTo>
                  <a:lnTo>
                    <a:pt x="2071" y="16283"/>
                  </a:lnTo>
                  <a:cubicBezTo>
                    <a:pt x="2822" y="16261"/>
                    <a:pt x="3630" y="16562"/>
                    <a:pt x="4265" y="17215"/>
                  </a:cubicBezTo>
                  <a:cubicBezTo>
                    <a:pt x="4911" y="17878"/>
                    <a:pt x="5214" y="18725"/>
                    <a:pt x="5181" y="19504"/>
                  </a:cubicBezTo>
                  <a:cubicBezTo>
                    <a:pt x="5181" y="19504"/>
                    <a:pt x="2737" y="20164"/>
                    <a:pt x="2737" y="20164"/>
                  </a:cubicBezTo>
                  <a:close/>
                  <a:moveTo>
                    <a:pt x="6888" y="11179"/>
                  </a:moveTo>
                  <a:cubicBezTo>
                    <a:pt x="6280" y="10927"/>
                    <a:pt x="5642" y="10783"/>
                    <a:pt x="5004" y="10774"/>
                  </a:cubicBezTo>
                  <a:lnTo>
                    <a:pt x="10063" y="5536"/>
                  </a:lnTo>
                  <a:cubicBezTo>
                    <a:pt x="10838" y="4759"/>
                    <a:pt x="11966" y="4536"/>
                    <a:pt x="13077" y="4819"/>
                  </a:cubicBezTo>
                  <a:cubicBezTo>
                    <a:pt x="13077" y="4819"/>
                    <a:pt x="6888" y="11179"/>
                    <a:pt x="6888" y="11179"/>
                  </a:cubicBezTo>
                  <a:close/>
                  <a:moveTo>
                    <a:pt x="9717" y="13672"/>
                  </a:moveTo>
                  <a:cubicBezTo>
                    <a:pt x="9473" y="13258"/>
                    <a:pt x="9194" y="12859"/>
                    <a:pt x="8848" y="12505"/>
                  </a:cubicBezTo>
                  <a:cubicBezTo>
                    <a:pt x="8447" y="12093"/>
                    <a:pt x="7986" y="11770"/>
                    <a:pt x="7507" y="11498"/>
                  </a:cubicBezTo>
                  <a:lnTo>
                    <a:pt x="13767" y="5064"/>
                  </a:lnTo>
                  <a:cubicBezTo>
                    <a:pt x="14259" y="5288"/>
                    <a:pt x="14729" y="5607"/>
                    <a:pt x="15145" y="6035"/>
                  </a:cubicBezTo>
                  <a:cubicBezTo>
                    <a:pt x="15500" y="6398"/>
                    <a:pt x="15775" y="6806"/>
                    <a:pt x="15987" y="7229"/>
                  </a:cubicBezTo>
                  <a:cubicBezTo>
                    <a:pt x="15987" y="7229"/>
                    <a:pt x="9717" y="13672"/>
                    <a:pt x="9717" y="13672"/>
                  </a:cubicBezTo>
                  <a:close/>
                  <a:moveTo>
                    <a:pt x="10519" y="16061"/>
                  </a:moveTo>
                  <a:cubicBezTo>
                    <a:pt x="10465" y="15452"/>
                    <a:pt x="10298" y="14854"/>
                    <a:pt x="10047" y="14288"/>
                  </a:cubicBezTo>
                  <a:lnTo>
                    <a:pt x="16257" y="7906"/>
                  </a:lnTo>
                  <a:cubicBezTo>
                    <a:pt x="16637" y="9140"/>
                    <a:pt x="16442" y="10429"/>
                    <a:pt x="15610" y="11284"/>
                  </a:cubicBezTo>
                  <a:cubicBezTo>
                    <a:pt x="15604" y="11290"/>
                    <a:pt x="15598" y="11293"/>
                    <a:pt x="15593" y="11298"/>
                  </a:cubicBezTo>
                  <a:lnTo>
                    <a:pt x="15602" y="11306"/>
                  </a:lnTo>
                  <a:lnTo>
                    <a:pt x="10525" y="16565"/>
                  </a:lnTo>
                  <a:cubicBezTo>
                    <a:pt x="10527" y="16397"/>
                    <a:pt x="10534" y="16232"/>
                    <a:pt x="10519" y="16061"/>
                  </a:cubicBezTo>
                  <a:moveTo>
                    <a:pt x="19308" y="1741"/>
                  </a:moveTo>
                  <a:cubicBezTo>
                    <a:pt x="18228" y="632"/>
                    <a:pt x="16805" y="0"/>
                    <a:pt x="15403" y="0"/>
                  </a:cubicBezTo>
                  <a:cubicBezTo>
                    <a:pt x="14220" y="0"/>
                    <a:pt x="13131" y="450"/>
                    <a:pt x="12335" y="1266"/>
                  </a:cubicBezTo>
                  <a:lnTo>
                    <a:pt x="9138" y="4577"/>
                  </a:lnTo>
                  <a:cubicBezTo>
                    <a:pt x="9129" y="4585"/>
                    <a:pt x="9118" y="4592"/>
                    <a:pt x="9108" y="4602"/>
                  </a:cubicBezTo>
                  <a:cubicBezTo>
                    <a:pt x="9103" y="4608"/>
                    <a:pt x="9100" y="4614"/>
                    <a:pt x="9095" y="4620"/>
                  </a:cubicBezTo>
                  <a:lnTo>
                    <a:pt x="9096" y="4621"/>
                  </a:lnTo>
                  <a:lnTo>
                    <a:pt x="2310" y="11647"/>
                  </a:lnTo>
                  <a:cubicBezTo>
                    <a:pt x="1998" y="11966"/>
                    <a:pt x="1771" y="12364"/>
                    <a:pt x="1645" y="12797"/>
                  </a:cubicBezTo>
                  <a:lnTo>
                    <a:pt x="102" y="18541"/>
                  </a:lnTo>
                  <a:cubicBezTo>
                    <a:pt x="100" y="18557"/>
                    <a:pt x="0" y="19008"/>
                    <a:pt x="0" y="19237"/>
                  </a:cubicBezTo>
                  <a:cubicBezTo>
                    <a:pt x="0" y="20541"/>
                    <a:pt x="1030" y="21599"/>
                    <a:pt x="2302" y="21599"/>
                  </a:cubicBezTo>
                  <a:cubicBezTo>
                    <a:pt x="2554" y="21599"/>
                    <a:pt x="3044" y="21475"/>
                    <a:pt x="3062" y="21473"/>
                  </a:cubicBezTo>
                  <a:lnTo>
                    <a:pt x="8630" y="19969"/>
                  </a:lnTo>
                  <a:cubicBezTo>
                    <a:pt x="9054" y="19839"/>
                    <a:pt x="9439" y="19604"/>
                    <a:pt x="9750" y="19283"/>
                  </a:cubicBezTo>
                  <a:lnTo>
                    <a:pt x="19776" y="8899"/>
                  </a:lnTo>
                  <a:cubicBezTo>
                    <a:pt x="21600" y="7023"/>
                    <a:pt x="21394" y="3881"/>
                    <a:pt x="19308" y="174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543" eaLnBrk="1">
                <a:defRPr/>
              </a:pPr>
              <a:endParaRPr lang="en-US"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530B8AA2-1CEE-41CF-84A9-9EE2FF2CEFA6}"/>
              </a:ext>
            </a:extLst>
          </p:cNvPr>
          <p:cNvSpPr txBox="1"/>
          <p:nvPr/>
        </p:nvSpPr>
        <p:spPr>
          <a:xfrm>
            <a:off x="1162015" y="4802337"/>
            <a:ext cx="2445247" cy="246221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1 педагог</a:t>
            </a:r>
            <a:endParaRPr lang="en-US" sz="1600" dirty="0"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2B0D78A-622F-4DE4-B7D0-7F4D92218FF2}"/>
              </a:ext>
            </a:extLst>
          </p:cNvPr>
          <p:cNvSpPr txBox="1"/>
          <p:nvPr/>
        </p:nvSpPr>
        <p:spPr>
          <a:xfrm>
            <a:off x="1162014" y="4506091"/>
            <a:ext cx="3412323" cy="307777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Русский язык и литература</a:t>
            </a:r>
            <a:endParaRPr lang="en-US" sz="2000" dirty="0"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574338" y="1869440"/>
            <a:ext cx="609270" cy="4988559"/>
            <a:chOff x="4216866" y="1869441"/>
            <a:chExt cx="609270" cy="4988559"/>
          </a:xfrm>
        </p:grpSpPr>
        <p:cxnSp>
          <p:nvCxnSpPr>
            <p:cNvPr id="92" name="Straight Connector 2">
              <a:extLst>
                <a:ext uri="{FF2B5EF4-FFF2-40B4-BE49-F238E27FC236}">
                  <a16:creationId xmlns:a16="http://schemas.microsoft.com/office/drawing/2014/main" id="{43509195-D796-4D6C-901E-64D5A2E8AC40}"/>
                </a:ext>
              </a:extLst>
            </p:cNvPr>
            <p:cNvCxnSpPr>
              <a:cxnSpLocks/>
              <a:endCxn id="93" idx="2"/>
            </p:cNvCxnSpPr>
            <p:nvPr/>
          </p:nvCxnSpPr>
          <p:spPr>
            <a:xfrm flipV="1">
              <a:off x="4521501" y="2444749"/>
              <a:ext cx="0" cy="4413251"/>
            </a:xfrm>
            <a:prstGeom prst="line">
              <a:avLst/>
            </a:prstGeom>
            <a:ln w="38100">
              <a:solidFill>
                <a:srgbClr val="3DB69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Rectangle 5">
              <a:extLst>
                <a:ext uri="{FF2B5EF4-FFF2-40B4-BE49-F238E27FC236}">
                  <a16:creationId xmlns:a16="http://schemas.microsoft.com/office/drawing/2014/main" id="{6BD7B76F-BDDB-4DEB-86AD-D0195DC135FA}"/>
                </a:ext>
              </a:extLst>
            </p:cNvPr>
            <p:cNvSpPr/>
            <p:nvPr/>
          </p:nvSpPr>
          <p:spPr>
            <a:xfrm>
              <a:off x="4216866" y="1869441"/>
              <a:ext cx="609270" cy="5753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DB6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AutoShape 113">
              <a:extLst>
                <a:ext uri="{FF2B5EF4-FFF2-40B4-BE49-F238E27FC236}">
                  <a16:creationId xmlns:a16="http://schemas.microsoft.com/office/drawing/2014/main" id="{2FCF5E8A-EAFA-499C-9C67-985C9C0B8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818" y="1958343"/>
              <a:ext cx="235365" cy="343093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5386" y="14175"/>
                  </a:moveTo>
                  <a:lnTo>
                    <a:pt x="6223" y="14175"/>
                  </a:lnTo>
                  <a:cubicBezTo>
                    <a:pt x="5734" y="13446"/>
                    <a:pt x="5147" y="12716"/>
                    <a:pt x="4568" y="12003"/>
                  </a:cubicBezTo>
                  <a:cubicBezTo>
                    <a:pt x="3287" y="10427"/>
                    <a:pt x="1963" y="8797"/>
                    <a:pt x="1963" y="7425"/>
                  </a:cubicBezTo>
                  <a:cubicBezTo>
                    <a:pt x="1963" y="4075"/>
                    <a:pt x="5927" y="1350"/>
                    <a:pt x="10800" y="1350"/>
                  </a:cubicBezTo>
                  <a:cubicBezTo>
                    <a:pt x="15672" y="1350"/>
                    <a:pt x="19636" y="4075"/>
                    <a:pt x="19636" y="7425"/>
                  </a:cubicBezTo>
                  <a:cubicBezTo>
                    <a:pt x="19636" y="8787"/>
                    <a:pt x="18312" y="10425"/>
                    <a:pt x="17029" y="12011"/>
                  </a:cubicBezTo>
                  <a:cubicBezTo>
                    <a:pt x="16455" y="12723"/>
                    <a:pt x="15873" y="13449"/>
                    <a:pt x="15386" y="14175"/>
                  </a:cubicBezTo>
                  <a:moveTo>
                    <a:pt x="10800" y="20249"/>
                  </a:moveTo>
                  <a:cubicBezTo>
                    <a:pt x="9805" y="20249"/>
                    <a:pt x="9347" y="20171"/>
                    <a:pt x="8839" y="19406"/>
                  </a:cubicBezTo>
                  <a:lnTo>
                    <a:pt x="13000" y="19048"/>
                  </a:lnTo>
                  <a:cubicBezTo>
                    <a:pt x="12398" y="20164"/>
                    <a:pt x="11959" y="20249"/>
                    <a:pt x="10800" y="20249"/>
                  </a:cubicBezTo>
                  <a:moveTo>
                    <a:pt x="7595" y="16813"/>
                  </a:moveTo>
                  <a:cubicBezTo>
                    <a:pt x="7417" y="16407"/>
                    <a:pt x="7215" y="15978"/>
                    <a:pt x="6991" y="15525"/>
                  </a:cubicBezTo>
                  <a:lnTo>
                    <a:pt x="14616" y="15525"/>
                  </a:lnTo>
                  <a:cubicBezTo>
                    <a:pt x="14496" y="15767"/>
                    <a:pt x="14375" y="16010"/>
                    <a:pt x="14270" y="16239"/>
                  </a:cubicBezTo>
                  <a:cubicBezTo>
                    <a:pt x="14270" y="16239"/>
                    <a:pt x="7595" y="16813"/>
                    <a:pt x="7595" y="16813"/>
                  </a:cubicBezTo>
                  <a:close/>
                  <a:moveTo>
                    <a:pt x="13345" y="18343"/>
                  </a:moveTo>
                  <a:lnTo>
                    <a:pt x="8476" y="18762"/>
                  </a:lnTo>
                  <a:cubicBezTo>
                    <a:pt x="8303" y="18416"/>
                    <a:pt x="8116" y="18011"/>
                    <a:pt x="7890" y="17483"/>
                  </a:cubicBezTo>
                  <a:cubicBezTo>
                    <a:pt x="7887" y="17477"/>
                    <a:pt x="7883" y="17469"/>
                    <a:pt x="7881" y="17462"/>
                  </a:cubicBezTo>
                  <a:lnTo>
                    <a:pt x="13957" y="16941"/>
                  </a:lnTo>
                  <a:cubicBezTo>
                    <a:pt x="13871" y="17140"/>
                    <a:pt x="13778" y="17350"/>
                    <a:pt x="13698" y="17537"/>
                  </a:cubicBezTo>
                  <a:cubicBezTo>
                    <a:pt x="13569" y="17841"/>
                    <a:pt x="13453" y="18104"/>
                    <a:pt x="13345" y="18343"/>
                  </a:cubicBezTo>
                  <a:moveTo>
                    <a:pt x="10800" y="0"/>
                  </a:moveTo>
                  <a:cubicBezTo>
                    <a:pt x="4835" y="0"/>
                    <a:pt x="0" y="3324"/>
                    <a:pt x="0" y="7425"/>
                  </a:cubicBezTo>
                  <a:cubicBezTo>
                    <a:pt x="0" y="10146"/>
                    <a:pt x="3621" y="13029"/>
                    <a:pt x="4939" y="15562"/>
                  </a:cubicBezTo>
                  <a:cubicBezTo>
                    <a:pt x="6906" y="19339"/>
                    <a:pt x="6688" y="21599"/>
                    <a:pt x="10800" y="21599"/>
                  </a:cubicBezTo>
                  <a:cubicBezTo>
                    <a:pt x="14972" y="21599"/>
                    <a:pt x="14692" y="19349"/>
                    <a:pt x="16660" y="15577"/>
                  </a:cubicBezTo>
                  <a:cubicBezTo>
                    <a:pt x="17983" y="13039"/>
                    <a:pt x="21600" y="10124"/>
                    <a:pt x="21600" y="7425"/>
                  </a:cubicBezTo>
                  <a:cubicBezTo>
                    <a:pt x="21600" y="3324"/>
                    <a:pt x="16764" y="0"/>
                    <a:pt x="10800" y="0"/>
                  </a:cubicBezTo>
                </a:path>
              </a:pathLst>
            </a:custGeom>
            <a:pattFill prst="pct25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543" eaLnBrk="1">
                <a:defRPr/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  <p:sp>
          <p:nvSpPr>
            <p:cNvPr id="96" name="AutoShape 114">
              <a:extLst>
                <a:ext uri="{FF2B5EF4-FFF2-40B4-BE49-F238E27FC236}">
                  <a16:creationId xmlns:a16="http://schemas.microsoft.com/office/drawing/2014/main" id="{BA55C863-3DC5-435C-B905-5D1A3F34C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97" y="2012207"/>
              <a:ext cx="69672" cy="69672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9938" y="0"/>
                  </a:moveTo>
                  <a:cubicBezTo>
                    <a:pt x="8943" y="0"/>
                    <a:pt x="0" y="8942"/>
                    <a:pt x="0" y="19938"/>
                  </a:cubicBezTo>
                  <a:cubicBezTo>
                    <a:pt x="0" y="20855"/>
                    <a:pt x="743" y="21600"/>
                    <a:pt x="1661" y="21600"/>
                  </a:cubicBezTo>
                  <a:cubicBezTo>
                    <a:pt x="2579" y="21600"/>
                    <a:pt x="3323" y="20855"/>
                    <a:pt x="3323" y="19938"/>
                  </a:cubicBezTo>
                  <a:cubicBezTo>
                    <a:pt x="3323" y="10777"/>
                    <a:pt x="10777" y="3323"/>
                    <a:pt x="19938" y="3323"/>
                  </a:cubicBezTo>
                  <a:cubicBezTo>
                    <a:pt x="20856" y="3323"/>
                    <a:pt x="21600" y="2578"/>
                    <a:pt x="21600" y="1661"/>
                  </a:cubicBezTo>
                  <a:cubicBezTo>
                    <a:pt x="21600" y="744"/>
                    <a:pt x="20856" y="0"/>
                    <a:pt x="19938" y="0"/>
                  </a:cubicBezTo>
                </a:path>
              </a:pathLst>
            </a:custGeom>
            <a:pattFill prst="pct25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543" eaLnBrk="1">
                <a:defRPr/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</p:grpSp>
      <p:sp>
        <p:nvSpPr>
          <p:cNvPr id="137" name="Rectangle 86"/>
          <p:cNvSpPr/>
          <p:nvPr/>
        </p:nvSpPr>
        <p:spPr>
          <a:xfrm rot="900000">
            <a:off x="548797" y="480233"/>
            <a:ext cx="928522" cy="928522"/>
          </a:xfrm>
          <a:prstGeom prst="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895332" y="666340"/>
            <a:ext cx="897294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669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одые специалисты</a:t>
            </a:r>
            <a:endParaRPr lang="ru-RU" sz="2000" spc="600" dirty="0">
              <a:solidFill>
                <a:srgbClr val="066948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2" name="Группа 161"/>
          <p:cNvGrpSpPr/>
          <p:nvPr/>
        </p:nvGrpSpPr>
        <p:grpSpPr>
          <a:xfrm>
            <a:off x="1235705" y="5119798"/>
            <a:ext cx="1812127" cy="442382"/>
            <a:chOff x="1345808" y="2947031"/>
            <a:chExt cx="1812127" cy="442382"/>
          </a:xfrm>
        </p:grpSpPr>
        <p:sp>
          <p:nvSpPr>
            <p:cNvPr id="163" name="Rectangle 23">
              <a:extLst>
                <a:ext uri="{FF2B5EF4-FFF2-40B4-BE49-F238E27FC236}">
                  <a16:creationId xmlns:a16="http://schemas.microsoft.com/office/drawing/2014/main" id="{8313F4D0-A2E8-409A-8831-9FB794595639}"/>
                </a:ext>
              </a:extLst>
            </p:cNvPr>
            <p:cNvSpPr/>
            <p:nvPr/>
          </p:nvSpPr>
          <p:spPr>
            <a:xfrm>
              <a:off x="1345808" y="2947031"/>
              <a:ext cx="1812127" cy="442382"/>
            </a:xfrm>
            <a:prstGeom prst="rect">
              <a:avLst/>
            </a:prstGeom>
            <a:pattFill prst="pct25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400"/>
            </a:p>
          </p:txBody>
        </p:sp>
        <p:sp>
          <p:nvSpPr>
            <p:cNvPr id="164" name="AutoShape 43">
              <a:extLst>
                <a:ext uri="{FF2B5EF4-FFF2-40B4-BE49-F238E27FC236}">
                  <a16:creationId xmlns:a16="http://schemas.microsoft.com/office/drawing/2014/main" id="{FBC351F2-BA6E-4030-8DC1-D77936B1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0243" y="3077727"/>
              <a:ext cx="232379" cy="16694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951" y="9367"/>
                  </a:moveTo>
                  <a:cubicBezTo>
                    <a:pt x="10901" y="9383"/>
                    <a:pt x="10851" y="9391"/>
                    <a:pt x="10800" y="9391"/>
                  </a:cubicBezTo>
                  <a:cubicBezTo>
                    <a:pt x="10748" y="9391"/>
                    <a:pt x="10698" y="9383"/>
                    <a:pt x="10648" y="9367"/>
                  </a:cubicBezTo>
                  <a:lnTo>
                    <a:pt x="1873" y="6550"/>
                  </a:lnTo>
                  <a:cubicBezTo>
                    <a:pt x="1566" y="6452"/>
                    <a:pt x="1349" y="6072"/>
                    <a:pt x="1349" y="5634"/>
                  </a:cubicBezTo>
                  <a:cubicBezTo>
                    <a:pt x="1349" y="5197"/>
                    <a:pt x="1566" y="4817"/>
                    <a:pt x="1873" y="4719"/>
                  </a:cubicBezTo>
                  <a:lnTo>
                    <a:pt x="10648" y="1902"/>
                  </a:lnTo>
                  <a:cubicBezTo>
                    <a:pt x="10698" y="1886"/>
                    <a:pt x="10748" y="1878"/>
                    <a:pt x="10800" y="1878"/>
                  </a:cubicBezTo>
                  <a:cubicBezTo>
                    <a:pt x="10851" y="1878"/>
                    <a:pt x="10901" y="1886"/>
                    <a:pt x="10951" y="1902"/>
                  </a:cubicBezTo>
                  <a:lnTo>
                    <a:pt x="19726" y="4719"/>
                  </a:lnTo>
                  <a:cubicBezTo>
                    <a:pt x="20033" y="4817"/>
                    <a:pt x="20249" y="5197"/>
                    <a:pt x="20249" y="5634"/>
                  </a:cubicBezTo>
                  <a:cubicBezTo>
                    <a:pt x="20249" y="6072"/>
                    <a:pt x="20033" y="6452"/>
                    <a:pt x="19726" y="6550"/>
                  </a:cubicBezTo>
                  <a:cubicBezTo>
                    <a:pt x="19726" y="6550"/>
                    <a:pt x="10951" y="9367"/>
                    <a:pt x="10951" y="9367"/>
                  </a:cubicBezTo>
                  <a:close/>
                  <a:moveTo>
                    <a:pt x="16874" y="16904"/>
                  </a:moveTo>
                  <a:cubicBezTo>
                    <a:pt x="16874" y="17942"/>
                    <a:pt x="14849" y="19721"/>
                    <a:pt x="10800" y="19721"/>
                  </a:cubicBezTo>
                  <a:cubicBezTo>
                    <a:pt x="6749" y="19721"/>
                    <a:pt x="4724" y="17942"/>
                    <a:pt x="4724" y="16904"/>
                  </a:cubicBezTo>
                  <a:lnTo>
                    <a:pt x="4724" y="9394"/>
                  </a:lnTo>
                  <a:lnTo>
                    <a:pt x="10353" y="11200"/>
                  </a:lnTo>
                  <a:cubicBezTo>
                    <a:pt x="10501" y="11246"/>
                    <a:pt x="10651" y="11269"/>
                    <a:pt x="10800" y="11269"/>
                  </a:cubicBezTo>
                  <a:cubicBezTo>
                    <a:pt x="10949" y="11269"/>
                    <a:pt x="11098" y="11246"/>
                    <a:pt x="11255" y="11198"/>
                  </a:cubicBezTo>
                  <a:lnTo>
                    <a:pt x="16874" y="9394"/>
                  </a:lnTo>
                  <a:cubicBezTo>
                    <a:pt x="16874" y="9394"/>
                    <a:pt x="16874" y="16904"/>
                    <a:pt x="16874" y="16904"/>
                  </a:cubicBezTo>
                  <a:close/>
                  <a:moveTo>
                    <a:pt x="21600" y="5634"/>
                  </a:moveTo>
                  <a:cubicBezTo>
                    <a:pt x="21600" y="4314"/>
                    <a:pt x="20954" y="3185"/>
                    <a:pt x="20030" y="2888"/>
                  </a:cubicBezTo>
                  <a:lnTo>
                    <a:pt x="11246" y="68"/>
                  </a:lnTo>
                  <a:cubicBezTo>
                    <a:pt x="11098" y="22"/>
                    <a:pt x="10949" y="0"/>
                    <a:pt x="10800" y="0"/>
                  </a:cubicBezTo>
                  <a:cubicBezTo>
                    <a:pt x="10651" y="0"/>
                    <a:pt x="10501" y="22"/>
                    <a:pt x="10344" y="71"/>
                  </a:cubicBezTo>
                  <a:lnTo>
                    <a:pt x="1570" y="2888"/>
                  </a:lnTo>
                  <a:cubicBezTo>
                    <a:pt x="645" y="3185"/>
                    <a:pt x="0" y="4314"/>
                    <a:pt x="0" y="5634"/>
                  </a:cubicBezTo>
                  <a:cubicBezTo>
                    <a:pt x="0" y="6955"/>
                    <a:pt x="645" y="8084"/>
                    <a:pt x="1569" y="8380"/>
                  </a:cubicBezTo>
                  <a:lnTo>
                    <a:pt x="3374" y="8960"/>
                  </a:lnTo>
                  <a:lnTo>
                    <a:pt x="3374" y="16904"/>
                  </a:lnTo>
                  <a:cubicBezTo>
                    <a:pt x="3374" y="19397"/>
                    <a:pt x="5425" y="21600"/>
                    <a:pt x="10800" y="21600"/>
                  </a:cubicBezTo>
                  <a:cubicBezTo>
                    <a:pt x="16174" y="21600"/>
                    <a:pt x="18224" y="19397"/>
                    <a:pt x="18224" y="16904"/>
                  </a:cubicBezTo>
                  <a:lnTo>
                    <a:pt x="18224" y="8960"/>
                  </a:lnTo>
                  <a:lnTo>
                    <a:pt x="20030" y="8380"/>
                  </a:lnTo>
                  <a:cubicBezTo>
                    <a:pt x="20954" y="8084"/>
                    <a:pt x="21600" y="6955"/>
                    <a:pt x="21600" y="563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543" eaLnBrk="1">
                <a:defRPr/>
              </a:pPr>
              <a:endParaRPr lang="en-US"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  <p:sp>
          <p:nvSpPr>
            <p:cNvPr id="165" name="AutoShape 111">
              <a:extLst>
                <a:ext uri="{FF2B5EF4-FFF2-40B4-BE49-F238E27FC236}">
                  <a16:creationId xmlns:a16="http://schemas.microsoft.com/office/drawing/2014/main" id="{29C376FE-3330-4556-80D4-3D40AC927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0763" y="3070390"/>
              <a:ext cx="232379" cy="21770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249" y="16562"/>
                  </a:moveTo>
                  <a:cubicBezTo>
                    <a:pt x="20249" y="16959"/>
                    <a:pt x="19946" y="17282"/>
                    <a:pt x="19575" y="17282"/>
                  </a:cubicBezTo>
                  <a:lnTo>
                    <a:pt x="13499" y="17282"/>
                  </a:lnTo>
                  <a:lnTo>
                    <a:pt x="8099" y="17282"/>
                  </a:lnTo>
                  <a:lnTo>
                    <a:pt x="2024" y="17282"/>
                  </a:lnTo>
                  <a:cubicBezTo>
                    <a:pt x="1651" y="17282"/>
                    <a:pt x="1349" y="16959"/>
                    <a:pt x="1349" y="16562"/>
                  </a:cubicBezTo>
                  <a:lnTo>
                    <a:pt x="1349" y="2160"/>
                  </a:lnTo>
                  <a:cubicBezTo>
                    <a:pt x="1349" y="1762"/>
                    <a:pt x="1651" y="1440"/>
                    <a:pt x="2024" y="1440"/>
                  </a:cubicBezTo>
                  <a:lnTo>
                    <a:pt x="19575" y="1440"/>
                  </a:lnTo>
                  <a:cubicBezTo>
                    <a:pt x="19946" y="1440"/>
                    <a:pt x="20249" y="1762"/>
                    <a:pt x="20249" y="2160"/>
                  </a:cubicBezTo>
                  <a:cubicBezTo>
                    <a:pt x="20249" y="2160"/>
                    <a:pt x="20249" y="16562"/>
                    <a:pt x="20249" y="16562"/>
                  </a:cubicBezTo>
                  <a:close/>
                  <a:moveTo>
                    <a:pt x="19575" y="0"/>
                  </a:moveTo>
                  <a:lnTo>
                    <a:pt x="2024" y="0"/>
                  </a:lnTo>
                  <a:cubicBezTo>
                    <a:pt x="905" y="0"/>
                    <a:pt x="0" y="966"/>
                    <a:pt x="0" y="2160"/>
                  </a:cubicBezTo>
                  <a:lnTo>
                    <a:pt x="0" y="16562"/>
                  </a:lnTo>
                  <a:cubicBezTo>
                    <a:pt x="0" y="17753"/>
                    <a:pt x="903" y="18718"/>
                    <a:pt x="2018" y="18721"/>
                  </a:cubicBezTo>
                  <a:lnTo>
                    <a:pt x="8774" y="18721"/>
                  </a:lnTo>
                  <a:lnTo>
                    <a:pt x="8774" y="19597"/>
                  </a:lnTo>
                  <a:lnTo>
                    <a:pt x="4561" y="20181"/>
                  </a:lnTo>
                  <a:cubicBezTo>
                    <a:pt x="4260" y="20262"/>
                    <a:pt x="4049" y="20549"/>
                    <a:pt x="4049" y="20879"/>
                  </a:cubicBezTo>
                  <a:cubicBezTo>
                    <a:pt x="4049" y="21277"/>
                    <a:pt x="4351" y="21599"/>
                    <a:pt x="4724" y="21599"/>
                  </a:cubicBezTo>
                  <a:lnTo>
                    <a:pt x="16874" y="21599"/>
                  </a:lnTo>
                  <a:cubicBezTo>
                    <a:pt x="17248" y="21599"/>
                    <a:pt x="17549" y="21277"/>
                    <a:pt x="17549" y="20879"/>
                  </a:cubicBezTo>
                  <a:cubicBezTo>
                    <a:pt x="17549" y="20549"/>
                    <a:pt x="17339" y="20262"/>
                    <a:pt x="17038" y="20181"/>
                  </a:cubicBezTo>
                  <a:lnTo>
                    <a:pt x="12824" y="19597"/>
                  </a:lnTo>
                  <a:lnTo>
                    <a:pt x="12824" y="18721"/>
                  </a:lnTo>
                  <a:lnTo>
                    <a:pt x="19581" y="18721"/>
                  </a:lnTo>
                  <a:cubicBezTo>
                    <a:pt x="20696" y="18718"/>
                    <a:pt x="21600" y="17753"/>
                    <a:pt x="21600" y="16562"/>
                  </a:cubicBezTo>
                  <a:lnTo>
                    <a:pt x="21600" y="2160"/>
                  </a:lnTo>
                  <a:cubicBezTo>
                    <a:pt x="21600" y="966"/>
                    <a:pt x="20692" y="0"/>
                    <a:pt x="19575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543" eaLnBrk="1">
                <a:defRPr/>
              </a:pPr>
              <a:endParaRPr lang="en-US"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  <p:sp>
          <p:nvSpPr>
            <p:cNvPr id="166" name="AutoShape 112">
              <a:extLst>
                <a:ext uri="{FF2B5EF4-FFF2-40B4-BE49-F238E27FC236}">
                  <a16:creationId xmlns:a16="http://schemas.microsoft.com/office/drawing/2014/main" id="{C6AD4A49-51BD-4F45-86F5-E31068768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1510" y="3055945"/>
              <a:ext cx="232249" cy="232249"/>
            </a:xfrm>
            <a:custGeom>
              <a:avLst/>
              <a:gdLst>
                <a:gd name="T0" fmla="*/ 10510 w 21020"/>
                <a:gd name="T1" fmla="*/ 10800 h 21600"/>
                <a:gd name="T2" fmla="*/ 10510 w 21020"/>
                <a:gd name="T3" fmla="*/ 10800 h 21600"/>
                <a:gd name="T4" fmla="*/ 10510 w 21020"/>
                <a:gd name="T5" fmla="*/ 10800 h 21600"/>
                <a:gd name="T6" fmla="*/ 10510 w 2102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20" h="21600">
                  <a:moveTo>
                    <a:pt x="18846" y="7946"/>
                  </a:moveTo>
                  <a:lnTo>
                    <a:pt x="17740" y="9091"/>
                  </a:lnTo>
                  <a:cubicBezTo>
                    <a:pt x="17740" y="8939"/>
                    <a:pt x="17758" y="8792"/>
                    <a:pt x="17744" y="8636"/>
                  </a:cubicBezTo>
                  <a:cubicBezTo>
                    <a:pt x="17629" y="7331"/>
                    <a:pt x="17036" y="6068"/>
                    <a:pt x="16074" y="5080"/>
                  </a:cubicBezTo>
                  <a:cubicBezTo>
                    <a:pt x="15004" y="3980"/>
                    <a:pt x="13585" y="3348"/>
                    <a:pt x="12180" y="3345"/>
                  </a:cubicBezTo>
                  <a:lnTo>
                    <a:pt x="13268" y="2218"/>
                  </a:lnTo>
                  <a:cubicBezTo>
                    <a:pt x="13812" y="1659"/>
                    <a:pt x="14572" y="1350"/>
                    <a:pt x="15403" y="1350"/>
                  </a:cubicBezTo>
                  <a:cubicBezTo>
                    <a:pt x="16460" y="1350"/>
                    <a:pt x="17546" y="1840"/>
                    <a:pt x="18381" y="2696"/>
                  </a:cubicBezTo>
                  <a:cubicBezTo>
                    <a:pt x="19165" y="3500"/>
                    <a:pt x="19631" y="4499"/>
                    <a:pt x="19698" y="5510"/>
                  </a:cubicBezTo>
                  <a:cubicBezTo>
                    <a:pt x="19760" y="6453"/>
                    <a:pt x="19457" y="7317"/>
                    <a:pt x="18846" y="7946"/>
                  </a:cubicBezTo>
                  <a:moveTo>
                    <a:pt x="5828" y="19329"/>
                  </a:moveTo>
                  <a:cubicBezTo>
                    <a:pt x="5813" y="18424"/>
                    <a:pt x="5454" y="17481"/>
                    <a:pt x="4730" y="16739"/>
                  </a:cubicBezTo>
                  <a:cubicBezTo>
                    <a:pt x="4046" y="16034"/>
                    <a:pt x="3150" y="15628"/>
                    <a:pt x="2257" y="15592"/>
                  </a:cubicBezTo>
                  <a:lnTo>
                    <a:pt x="2911" y="13157"/>
                  </a:lnTo>
                  <a:cubicBezTo>
                    <a:pt x="2959" y="12995"/>
                    <a:pt x="3052" y="12835"/>
                    <a:pt x="3168" y="12695"/>
                  </a:cubicBezTo>
                  <a:cubicBezTo>
                    <a:pt x="4485" y="11726"/>
                    <a:pt x="6512" y="12012"/>
                    <a:pt x="7920" y="13460"/>
                  </a:cubicBezTo>
                  <a:cubicBezTo>
                    <a:pt x="9409" y="14990"/>
                    <a:pt x="9639" y="17230"/>
                    <a:pt x="8492" y="18568"/>
                  </a:cubicBezTo>
                  <a:cubicBezTo>
                    <a:pt x="8416" y="18609"/>
                    <a:pt x="8339" y="18648"/>
                    <a:pt x="8256" y="18675"/>
                  </a:cubicBezTo>
                  <a:cubicBezTo>
                    <a:pt x="8256" y="18675"/>
                    <a:pt x="5828" y="19329"/>
                    <a:pt x="5828" y="19329"/>
                  </a:cubicBezTo>
                  <a:close/>
                  <a:moveTo>
                    <a:pt x="2737" y="20164"/>
                  </a:moveTo>
                  <a:cubicBezTo>
                    <a:pt x="2665" y="20181"/>
                    <a:pt x="2443" y="20239"/>
                    <a:pt x="2291" y="20249"/>
                  </a:cubicBezTo>
                  <a:cubicBezTo>
                    <a:pt x="1751" y="20244"/>
                    <a:pt x="1313" y="19792"/>
                    <a:pt x="1313" y="19237"/>
                  </a:cubicBezTo>
                  <a:cubicBezTo>
                    <a:pt x="1321" y="19124"/>
                    <a:pt x="1365" y="18929"/>
                    <a:pt x="1380" y="18857"/>
                  </a:cubicBezTo>
                  <a:lnTo>
                    <a:pt x="2071" y="16283"/>
                  </a:lnTo>
                  <a:cubicBezTo>
                    <a:pt x="2822" y="16261"/>
                    <a:pt x="3630" y="16562"/>
                    <a:pt x="4265" y="17215"/>
                  </a:cubicBezTo>
                  <a:cubicBezTo>
                    <a:pt x="4911" y="17878"/>
                    <a:pt x="5214" y="18725"/>
                    <a:pt x="5181" y="19504"/>
                  </a:cubicBezTo>
                  <a:cubicBezTo>
                    <a:pt x="5181" y="19504"/>
                    <a:pt x="2737" y="20164"/>
                    <a:pt x="2737" y="20164"/>
                  </a:cubicBezTo>
                  <a:close/>
                  <a:moveTo>
                    <a:pt x="6888" y="11179"/>
                  </a:moveTo>
                  <a:cubicBezTo>
                    <a:pt x="6280" y="10927"/>
                    <a:pt x="5642" y="10783"/>
                    <a:pt x="5004" y="10774"/>
                  </a:cubicBezTo>
                  <a:lnTo>
                    <a:pt x="10063" y="5536"/>
                  </a:lnTo>
                  <a:cubicBezTo>
                    <a:pt x="10838" y="4759"/>
                    <a:pt x="11966" y="4536"/>
                    <a:pt x="13077" y="4819"/>
                  </a:cubicBezTo>
                  <a:cubicBezTo>
                    <a:pt x="13077" y="4819"/>
                    <a:pt x="6888" y="11179"/>
                    <a:pt x="6888" y="11179"/>
                  </a:cubicBezTo>
                  <a:close/>
                  <a:moveTo>
                    <a:pt x="9717" y="13672"/>
                  </a:moveTo>
                  <a:cubicBezTo>
                    <a:pt x="9473" y="13258"/>
                    <a:pt x="9194" y="12859"/>
                    <a:pt x="8848" y="12505"/>
                  </a:cubicBezTo>
                  <a:cubicBezTo>
                    <a:pt x="8447" y="12093"/>
                    <a:pt x="7986" y="11770"/>
                    <a:pt x="7507" y="11498"/>
                  </a:cubicBezTo>
                  <a:lnTo>
                    <a:pt x="13767" y="5064"/>
                  </a:lnTo>
                  <a:cubicBezTo>
                    <a:pt x="14259" y="5288"/>
                    <a:pt x="14729" y="5607"/>
                    <a:pt x="15145" y="6035"/>
                  </a:cubicBezTo>
                  <a:cubicBezTo>
                    <a:pt x="15500" y="6398"/>
                    <a:pt x="15775" y="6806"/>
                    <a:pt x="15987" y="7229"/>
                  </a:cubicBezTo>
                  <a:cubicBezTo>
                    <a:pt x="15987" y="7229"/>
                    <a:pt x="9717" y="13672"/>
                    <a:pt x="9717" y="13672"/>
                  </a:cubicBezTo>
                  <a:close/>
                  <a:moveTo>
                    <a:pt x="10519" y="16061"/>
                  </a:moveTo>
                  <a:cubicBezTo>
                    <a:pt x="10465" y="15452"/>
                    <a:pt x="10298" y="14854"/>
                    <a:pt x="10047" y="14288"/>
                  </a:cubicBezTo>
                  <a:lnTo>
                    <a:pt x="16257" y="7906"/>
                  </a:lnTo>
                  <a:cubicBezTo>
                    <a:pt x="16637" y="9140"/>
                    <a:pt x="16442" y="10429"/>
                    <a:pt x="15610" y="11284"/>
                  </a:cubicBezTo>
                  <a:cubicBezTo>
                    <a:pt x="15604" y="11290"/>
                    <a:pt x="15598" y="11293"/>
                    <a:pt x="15593" y="11298"/>
                  </a:cubicBezTo>
                  <a:lnTo>
                    <a:pt x="15602" y="11306"/>
                  </a:lnTo>
                  <a:lnTo>
                    <a:pt x="10525" y="16565"/>
                  </a:lnTo>
                  <a:cubicBezTo>
                    <a:pt x="10527" y="16397"/>
                    <a:pt x="10534" y="16232"/>
                    <a:pt x="10519" y="16061"/>
                  </a:cubicBezTo>
                  <a:moveTo>
                    <a:pt x="19308" y="1741"/>
                  </a:moveTo>
                  <a:cubicBezTo>
                    <a:pt x="18228" y="632"/>
                    <a:pt x="16805" y="0"/>
                    <a:pt x="15403" y="0"/>
                  </a:cubicBezTo>
                  <a:cubicBezTo>
                    <a:pt x="14220" y="0"/>
                    <a:pt x="13131" y="450"/>
                    <a:pt x="12335" y="1266"/>
                  </a:cubicBezTo>
                  <a:lnTo>
                    <a:pt x="9138" y="4577"/>
                  </a:lnTo>
                  <a:cubicBezTo>
                    <a:pt x="9129" y="4585"/>
                    <a:pt x="9118" y="4592"/>
                    <a:pt x="9108" y="4602"/>
                  </a:cubicBezTo>
                  <a:cubicBezTo>
                    <a:pt x="9103" y="4608"/>
                    <a:pt x="9100" y="4614"/>
                    <a:pt x="9095" y="4620"/>
                  </a:cubicBezTo>
                  <a:lnTo>
                    <a:pt x="9096" y="4621"/>
                  </a:lnTo>
                  <a:lnTo>
                    <a:pt x="2310" y="11647"/>
                  </a:lnTo>
                  <a:cubicBezTo>
                    <a:pt x="1998" y="11966"/>
                    <a:pt x="1771" y="12364"/>
                    <a:pt x="1645" y="12797"/>
                  </a:cubicBezTo>
                  <a:lnTo>
                    <a:pt x="102" y="18541"/>
                  </a:lnTo>
                  <a:cubicBezTo>
                    <a:pt x="100" y="18557"/>
                    <a:pt x="0" y="19008"/>
                    <a:pt x="0" y="19237"/>
                  </a:cubicBezTo>
                  <a:cubicBezTo>
                    <a:pt x="0" y="20541"/>
                    <a:pt x="1030" y="21599"/>
                    <a:pt x="2302" y="21599"/>
                  </a:cubicBezTo>
                  <a:cubicBezTo>
                    <a:pt x="2554" y="21599"/>
                    <a:pt x="3044" y="21475"/>
                    <a:pt x="3062" y="21473"/>
                  </a:cubicBezTo>
                  <a:lnTo>
                    <a:pt x="8630" y="19969"/>
                  </a:lnTo>
                  <a:cubicBezTo>
                    <a:pt x="9054" y="19839"/>
                    <a:pt x="9439" y="19604"/>
                    <a:pt x="9750" y="19283"/>
                  </a:cubicBezTo>
                  <a:lnTo>
                    <a:pt x="19776" y="8899"/>
                  </a:lnTo>
                  <a:cubicBezTo>
                    <a:pt x="21600" y="7023"/>
                    <a:pt x="21394" y="3881"/>
                    <a:pt x="19308" y="174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543" eaLnBrk="1">
                <a:defRPr/>
              </a:pPr>
              <a:endParaRPr lang="en-US"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</p:grpSp>
      <p:grpSp>
        <p:nvGrpSpPr>
          <p:cNvPr id="167" name="Группа 166"/>
          <p:cNvGrpSpPr/>
          <p:nvPr/>
        </p:nvGrpSpPr>
        <p:grpSpPr>
          <a:xfrm>
            <a:off x="1238986" y="2880697"/>
            <a:ext cx="1812127" cy="442382"/>
            <a:chOff x="5307312" y="4277848"/>
            <a:chExt cx="1812127" cy="442382"/>
          </a:xfrm>
        </p:grpSpPr>
        <p:sp>
          <p:nvSpPr>
            <p:cNvPr id="168" name="Rectangle 23">
              <a:extLst>
                <a:ext uri="{FF2B5EF4-FFF2-40B4-BE49-F238E27FC236}">
                  <a16:creationId xmlns:a16="http://schemas.microsoft.com/office/drawing/2014/main" id="{8313F4D0-A2E8-409A-8831-9FB794595639}"/>
                </a:ext>
              </a:extLst>
            </p:cNvPr>
            <p:cNvSpPr/>
            <p:nvPr/>
          </p:nvSpPr>
          <p:spPr>
            <a:xfrm>
              <a:off x="5307312" y="4277848"/>
              <a:ext cx="1812127" cy="442382"/>
            </a:xfrm>
            <a:prstGeom prst="rect">
              <a:avLst/>
            </a:prstGeom>
            <a:pattFill prst="pct25">
              <a:fgClr>
                <a:schemeClr val="accent1">
                  <a:lumMod val="75000"/>
                </a:schemeClr>
              </a:fgClr>
              <a:bgClr>
                <a:schemeClr val="accent1">
                  <a:lumMod val="50000"/>
                </a:schemeClr>
              </a:bgClr>
            </a:patt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400"/>
            </a:p>
          </p:txBody>
        </p:sp>
        <p:sp>
          <p:nvSpPr>
            <p:cNvPr id="169" name="AutoShape 43">
              <a:extLst>
                <a:ext uri="{FF2B5EF4-FFF2-40B4-BE49-F238E27FC236}">
                  <a16:creationId xmlns:a16="http://schemas.microsoft.com/office/drawing/2014/main" id="{FBC351F2-BA6E-4030-8DC1-D77936B1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377" y="4433596"/>
              <a:ext cx="232379" cy="16694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951" y="9367"/>
                  </a:moveTo>
                  <a:cubicBezTo>
                    <a:pt x="10901" y="9383"/>
                    <a:pt x="10851" y="9391"/>
                    <a:pt x="10800" y="9391"/>
                  </a:cubicBezTo>
                  <a:cubicBezTo>
                    <a:pt x="10748" y="9391"/>
                    <a:pt x="10698" y="9383"/>
                    <a:pt x="10648" y="9367"/>
                  </a:cubicBezTo>
                  <a:lnTo>
                    <a:pt x="1873" y="6550"/>
                  </a:lnTo>
                  <a:cubicBezTo>
                    <a:pt x="1566" y="6452"/>
                    <a:pt x="1349" y="6072"/>
                    <a:pt x="1349" y="5634"/>
                  </a:cubicBezTo>
                  <a:cubicBezTo>
                    <a:pt x="1349" y="5197"/>
                    <a:pt x="1566" y="4817"/>
                    <a:pt x="1873" y="4719"/>
                  </a:cubicBezTo>
                  <a:lnTo>
                    <a:pt x="10648" y="1902"/>
                  </a:lnTo>
                  <a:cubicBezTo>
                    <a:pt x="10698" y="1886"/>
                    <a:pt x="10748" y="1878"/>
                    <a:pt x="10800" y="1878"/>
                  </a:cubicBezTo>
                  <a:cubicBezTo>
                    <a:pt x="10851" y="1878"/>
                    <a:pt x="10901" y="1886"/>
                    <a:pt x="10951" y="1902"/>
                  </a:cubicBezTo>
                  <a:lnTo>
                    <a:pt x="19726" y="4719"/>
                  </a:lnTo>
                  <a:cubicBezTo>
                    <a:pt x="20033" y="4817"/>
                    <a:pt x="20249" y="5197"/>
                    <a:pt x="20249" y="5634"/>
                  </a:cubicBezTo>
                  <a:cubicBezTo>
                    <a:pt x="20249" y="6072"/>
                    <a:pt x="20033" y="6452"/>
                    <a:pt x="19726" y="6550"/>
                  </a:cubicBezTo>
                  <a:cubicBezTo>
                    <a:pt x="19726" y="6550"/>
                    <a:pt x="10951" y="9367"/>
                    <a:pt x="10951" y="9367"/>
                  </a:cubicBezTo>
                  <a:close/>
                  <a:moveTo>
                    <a:pt x="16874" y="16904"/>
                  </a:moveTo>
                  <a:cubicBezTo>
                    <a:pt x="16874" y="17942"/>
                    <a:pt x="14849" y="19721"/>
                    <a:pt x="10800" y="19721"/>
                  </a:cubicBezTo>
                  <a:cubicBezTo>
                    <a:pt x="6749" y="19721"/>
                    <a:pt x="4724" y="17942"/>
                    <a:pt x="4724" y="16904"/>
                  </a:cubicBezTo>
                  <a:lnTo>
                    <a:pt x="4724" y="9394"/>
                  </a:lnTo>
                  <a:lnTo>
                    <a:pt x="10353" y="11200"/>
                  </a:lnTo>
                  <a:cubicBezTo>
                    <a:pt x="10501" y="11246"/>
                    <a:pt x="10651" y="11269"/>
                    <a:pt x="10800" y="11269"/>
                  </a:cubicBezTo>
                  <a:cubicBezTo>
                    <a:pt x="10949" y="11269"/>
                    <a:pt x="11098" y="11246"/>
                    <a:pt x="11255" y="11198"/>
                  </a:cubicBezTo>
                  <a:lnTo>
                    <a:pt x="16874" y="9394"/>
                  </a:lnTo>
                  <a:cubicBezTo>
                    <a:pt x="16874" y="9394"/>
                    <a:pt x="16874" y="16904"/>
                    <a:pt x="16874" y="16904"/>
                  </a:cubicBezTo>
                  <a:close/>
                  <a:moveTo>
                    <a:pt x="21600" y="5634"/>
                  </a:moveTo>
                  <a:cubicBezTo>
                    <a:pt x="21600" y="4314"/>
                    <a:pt x="20954" y="3185"/>
                    <a:pt x="20030" y="2888"/>
                  </a:cubicBezTo>
                  <a:lnTo>
                    <a:pt x="11246" y="68"/>
                  </a:lnTo>
                  <a:cubicBezTo>
                    <a:pt x="11098" y="22"/>
                    <a:pt x="10949" y="0"/>
                    <a:pt x="10800" y="0"/>
                  </a:cubicBezTo>
                  <a:cubicBezTo>
                    <a:pt x="10651" y="0"/>
                    <a:pt x="10501" y="22"/>
                    <a:pt x="10344" y="71"/>
                  </a:cubicBezTo>
                  <a:lnTo>
                    <a:pt x="1570" y="2888"/>
                  </a:lnTo>
                  <a:cubicBezTo>
                    <a:pt x="645" y="3185"/>
                    <a:pt x="0" y="4314"/>
                    <a:pt x="0" y="5634"/>
                  </a:cubicBezTo>
                  <a:cubicBezTo>
                    <a:pt x="0" y="6955"/>
                    <a:pt x="645" y="8084"/>
                    <a:pt x="1569" y="8380"/>
                  </a:cubicBezTo>
                  <a:lnTo>
                    <a:pt x="3374" y="8960"/>
                  </a:lnTo>
                  <a:lnTo>
                    <a:pt x="3374" y="16904"/>
                  </a:lnTo>
                  <a:cubicBezTo>
                    <a:pt x="3374" y="19397"/>
                    <a:pt x="5425" y="21600"/>
                    <a:pt x="10800" y="21600"/>
                  </a:cubicBezTo>
                  <a:cubicBezTo>
                    <a:pt x="16174" y="21600"/>
                    <a:pt x="18224" y="19397"/>
                    <a:pt x="18224" y="16904"/>
                  </a:cubicBezTo>
                  <a:lnTo>
                    <a:pt x="18224" y="8960"/>
                  </a:lnTo>
                  <a:lnTo>
                    <a:pt x="20030" y="8380"/>
                  </a:lnTo>
                  <a:cubicBezTo>
                    <a:pt x="20954" y="8084"/>
                    <a:pt x="21600" y="6955"/>
                    <a:pt x="21600" y="563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543" eaLnBrk="1">
                <a:defRPr/>
              </a:pPr>
              <a:endParaRPr lang="en-US"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  <p:sp>
          <p:nvSpPr>
            <p:cNvPr id="170" name="AutoShape 111">
              <a:extLst>
                <a:ext uri="{FF2B5EF4-FFF2-40B4-BE49-F238E27FC236}">
                  <a16:creationId xmlns:a16="http://schemas.microsoft.com/office/drawing/2014/main" id="{29C376FE-3330-4556-80D4-3D40AC927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267" y="4401207"/>
              <a:ext cx="232379" cy="21770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249" y="16562"/>
                  </a:moveTo>
                  <a:cubicBezTo>
                    <a:pt x="20249" y="16959"/>
                    <a:pt x="19946" y="17282"/>
                    <a:pt x="19575" y="17282"/>
                  </a:cubicBezTo>
                  <a:lnTo>
                    <a:pt x="13499" y="17282"/>
                  </a:lnTo>
                  <a:lnTo>
                    <a:pt x="8099" y="17282"/>
                  </a:lnTo>
                  <a:lnTo>
                    <a:pt x="2024" y="17282"/>
                  </a:lnTo>
                  <a:cubicBezTo>
                    <a:pt x="1651" y="17282"/>
                    <a:pt x="1349" y="16959"/>
                    <a:pt x="1349" y="16562"/>
                  </a:cubicBezTo>
                  <a:lnTo>
                    <a:pt x="1349" y="2160"/>
                  </a:lnTo>
                  <a:cubicBezTo>
                    <a:pt x="1349" y="1762"/>
                    <a:pt x="1651" y="1440"/>
                    <a:pt x="2024" y="1440"/>
                  </a:cubicBezTo>
                  <a:lnTo>
                    <a:pt x="19575" y="1440"/>
                  </a:lnTo>
                  <a:cubicBezTo>
                    <a:pt x="19946" y="1440"/>
                    <a:pt x="20249" y="1762"/>
                    <a:pt x="20249" y="2160"/>
                  </a:cubicBezTo>
                  <a:cubicBezTo>
                    <a:pt x="20249" y="2160"/>
                    <a:pt x="20249" y="16562"/>
                    <a:pt x="20249" y="16562"/>
                  </a:cubicBezTo>
                  <a:close/>
                  <a:moveTo>
                    <a:pt x="19575" y="0"/>
                  </a:moveTo>
                  <a:lnTo>
                    <a:pt x="2024" y="0"/>
                  </a:lnTo>
                  <a:cubicBezTo>
                    <a:pt x="905" y="0"/>
                    <a:pt x="0" y="966"/>
                    <a:pt x="0" y="2160"/>
                  </a:cubicBezTo>
                  <a:lnTo>
                    <a:pt x="0" y="16562"/>
                  </a:lnTo>
                  <a:cubicBezTo>
                    <a:pt x="0" y="17753"/>
                    <a:pt x="903" y="18718"/>
                    <a:pt x="2018" y="18721"/>
                  </a:cubicBezTo>
                  <a:lnTo>
                    <a:pt x="8774" y="18721"/>
                  </a:lnTo>
                  <a:lnTo>
                    <a:pt x="8774" y="19597"/>
                  </a:lnTo>
                  <a:lnTo>
                    <a:pt x="4561" y="20181"/>
                  </a:lnTo>
                  <a:cubicBezTo>
                    <a:pt x="4260" y="20262"/>
                    <a:pt x="4049" y="20549"/>
                    <a:pt x="4049" y="20879"/>
                  </a:cubicBezTo>
                  <a:cubicBezTo>
                    <a:pt x="4049" y="21277"/>
                    <a:pt x="4351" y="21599"/>
                    <a:pt x="4724" y="21599"/>
                  </a:cubicBezTo>
                  <a:lnTo>
                    <a:pt x="16874" y="21599"/>
                  </a:lnTo>
                  <a:cubicBezTo>
                    <a:pt x="17248" y="21599"/>
                    <a:pt x="17549" y="21277"/>
                    <a:pt x="17549" y="20879"/>
                  </a:cubicBezTo>
                  <a:cubicBezTo>
                    <a:pt x="17549" y="20549"/>
                    <a:pt x="17339" y="20262"/>
                    <a:pt x="17038" y="20181"/>
                  </a:cubicBezTo>
                  <a:lnTo>
                    <a:pt x="12824" y="19597"/>
                  </a:lnTo>
                  <a:lnTo>
                    <a:pt x="12824" y="18721"/>
                  </a:lnTo>
                  <a:lnTo>
                    <a:pt x="19581" y="18721"/>
                  </a:lnTo>
                  <a:cubicBezTo>
                    <a:pt x="20696" y="18718"/>
                    <a:pt x="21600" y="17753"/>
                    <a:pt x="21600" y="16562"/>
                  </a:cubicBezTo>
                  <a:lnTo>
                    <a:pt x="21600" y="2160"/>
                  </a:lnTo>
                  <a:cubicBezTo>
                    <a:pt x="21600" y="966"/>
                    <a:pt x="20692" y="0"/>
                    <a:pt x="19575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543" eaLnBrk="1">
                <a:defRPr/>
              </a:pPr>
              <a:endParaRPr lang="en-US"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  <p:sp>
          <p:nvSpPr>
            <p:cNvPr id="171" name="AutoShape 112">
              <a:extLst>
                <a:ext uri="{FF2B5EF4-FFF2-40B4-BE49-F238E27FC236}">
                  <a16:creationId xmlns:a16="http://schemas.microsoft.com/office/drawing/2014/main" id="{C6AD4A49-51BD-4F45-86F5-E31068768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3014" y="4386762"/>
              <a:ext cx="232249" cy="232249"/>
            </a:xfrm>
            <a:custGeom>
              <a:avLst/>
              <a:gdLst>
                <a:gd name="T0" fmla="*/ 10510 w 21020"/>
                <a:gd name="T1" fmla="*/ 10800 h 21600"/>
                <a:gd name="T2" fmla="*/ 10510 w 21020"/>
                <a:gd name="T3" fmla="*/ 10800 h 21600"/>
                <a:gd name="T4" fmla="*/ 10510 w 21020"/>
                <a:gd name="T5" fmla="*/ 10800 h 21600"/>
                <a:gd name="T6" fmla="*/ 10510 w 2102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20" h="21600">
                  <a:moveTo>
                    <a:pt x="18846" y="7946"/>
                  </a:moveTo>
                  <a:lnTo>
                    <a:pt x="17740" y="9091"/>
                  </a:lnTo>
                  <a:cubicBezTo>
                    <a:pt x="17740" y="8939"/>
                    <a:pt x="17758" y="8792"/>
                    <a:pt x="17744" y="8636"/>
                  </a:cubicBezTo>
                  <a:cubicBezTo>
                    <a:pt x="17629" y="7331"/>
                    <a:pt x="17036" y="6068"/>
                    <a:pt x="16074" y="5080"/>
                  </a:cubicBezTo>
                  <a:cubicBezTo>
                    <a:pt x="15004" y="3980"/>
                    <a:pt x="13585" y="3348"/>
                    <a:pt x="12180" y="3345"/>
                  </a:cubicBezTo>
                  <a:lnTo>
                    <a:pt x="13268" y="2218"/>
                  </a:lnTo>
                  <a:cubicBezTo>
                    <a:pt x="13812" y="1659"/>
                    <a:pt x="14572" y="1350"/>
                    <a:pt x="15403" y="1350"/>
                  </a:cubicBezTo>
                  <a:cubicBezTo>
                    <a:pt x="16460" y="1350"/>
                    <a:pt x="17546" y="1840"/>
                    <a:pt x="18381" y="2696"/>
                  </a:cubicBezTo>
                  <a:cubicBezTo>
                    <a:pt x="19165" y="3500"/>
                    <a:pt x="19631" y="4499"/>
                    <a:pt x="19698" y="5510"/>
                  </a:cubicBezTo>
                  <a:cubicBezTo>
                    <a:pt x="19760" y="6453"/>
                    <a:pt x="19457" y="7317"/>
                    <a:pt x="18846" y="7946"/>
                  </a:cubicBezTo>
                  <a:moveTo>
                    <a:pt x="5828" y="19329"/>
                  </a:moveTo>
                  <a:cubicBezTo>
                    <a:pt x="5813" y="18424"/>
                    <a:pt x="5454" y="17481"/>
                    <a:pt x="4730" y="16739"/>
                  </a:cubicBezTo>
                  <a:cubicBezTo>
                    <a:pt x="4046" y="16034"/>
                    <a:pt x="3150" y="15628"/>
                    <a:pt x="2257" y="15592"/>
                  </a:cubicBezTo>
                  <a:lnTo>
                    <a:pt x="2911" y="13157"/>
                  </a:lnTo>
                  <a:cubicBezTo>
                    <a:pt x="2959" y="12995"/>
                    <a:pt x="3052" y="12835"/>
                    <a:pt x="3168" y="12695"/>
                  </a:cubicBezTo>
                  <a:cubicBezTo>
                    <a:pt x="4485" y="11726"/>
                    <a:pt x="6512" y="12012"/>
                    <a:pt x="7920" y="13460"/>
                  </a:cubicBezTo>
                  <a:cubicBezTo>
                    <a:pt x="9409" y="14990"/>
                    <a:pt x="9639" y="17230"/>
                    <a:pt x="8492" y="18568"/>
                  </a:cubicBezTo>
                  <a:cubicBezTo>
                    <a:pt x="8416" y="18609"/>
                    <a:pt x="8339" y="18648"/>
                    <a:pt x="8256" y="18675"/>
                  </a:cubicBezTo>
                  <a:cubicBezTo>
                    <a:pt x="8256" y="18675"/>
                    <a:pt x="5828" y="19329"/>
                    <a:pt x="5828" y="19329"/>
                  </a:cubicBezTo>
                  <a:close/>
                  <a:moveTo>
                    <a:pt x="2737" y="20164"/>
                  </a:moveTo>
                  <a:cubicBezTo>
                    <a:pt x="2665" y="20181"/>
                    <a:pt x="2443" y="20239"/>
                    <a:pt x="2291" y="20249"/>
                  </a:cubicBezTo>
                  <a:cubicBezTo>
                    <a:pt x="1751" y="20244"/>
                    <a:pt x="1313" y="19792"/>
                    <a:pt x="1313" y="19237"/>
                  </a:cubicBezTo>
                  <a:cubicBezTo>
                    <a:pt x="1321" y="19124"/>
                    <a:pt x="1365" y="18929"/>
                    <a:pt x="1380" y="18857"/>
                  </a:cubicBezTo>
                  <a:lnTo>
                    <a:pt x="2071" y="16283"/>
                  </a:lnTo>
                  <a:cubicBezTo>
                    <a:pt x="2822" y="16261"/>
                    <a:pt x="3630" y="16562"/>
                    <a:pt x="4265" y="17215"/>
                  </a:cubicBezTo>
                  <a:cubicBezTo>
                    <a:pt x="4911" y="17878"/>
                    <a:pt x="5214" y="18725"/>
                    <a:pt x="5181" y="19504"/>
                  </a:cubicBezTo>
                  <a:cubicBezTo>
                    <a:pt x="5181" y="19504"/>
                    <a:pt x="2737" y="20164"/>
                    <a:pt x="2737" y="20164"/>
                  </a:cubicBezTo>
                  <a:close/>
                  <a:moveTo>
                    <a:pt x="6888" y="11179"/>
                  </a:moveTo>
                  <a:cubicBezTo>
                    <a:pt x="6280" y="10927"/>
                    <a:pt x="5642" y="10783"/>
                    <a:pt x="5004" y="10774"/>
                  </a:cubicBezTo>
                  <a:lnTo>
                    <a:pt x="10063" y="5536"/>
                  </a:lnTo>
                  <a:cubicBezTo>
                    <a:pt x="10838" y="4759"/>
                    <a:pt x="11966" y="4536"/>
                    <a:pt x="13077" y="4819"/>
                  </a:cubicBezTo>
                  <a:cubicBezTo>
                    <a:pt x="13077" y="4819"/>
                    <a:pt x="6888" y="11179"/>
                    <a:pt x="6888" y="11179"/>
                  </a:cubicBezTo>
                  <a:close/>
                  <a:moveTo>
                    <a:pt x="9717" y="13672"/>
                  </a:moveTo>
                  <a:cubicBezTo>
                    <a:pt x="9473" y="13258"/>
                    <a:pt x="9194" y="12859"/>
                    <a:pt x="8848" y="12505"/>
                  </a:cubicBezTo>
                  <a:cubicBezTo>
                    <a:pt x="8447" y="12093"/>
                    <a:pt x="7986" y="11770"/>
                    <a:pt x="7507" y="11498"/>
                  </a:cubicBezTo>
                  <a:lnTo>
                    <a:pt x="13767" y="5064"/>
                  </a:lnTo>
                  <a:cubicBezTo>
                    <a:pt x="14259" y="5288"/>
                    <a:pt x="14729" y="5607"/>
                    <a:pt x="15145" y="6035"/>
                  </a:cubicBezTo>
                  <a:cubicBezTo>
                    <a:pt x="15500" y="6398"/>
                    <a:pt x="15775" y="6806"/>
                    <a:pt x="15987" y="7229"/>
                  </a:cubicBezTo>
                  <a:cubicBezTo>
                    <a:pt x="15987" y="7229"/>
                    <a:pt x="9717" y="13672"/>
                    <a:pt x="9717" y="13672"/>
                  </a:cubicBezTo>
                  <a:close/>
                  <a:moveTo>
                    <a:pt x="10519" y="16061"/>
                  </a:moveTo>
                  <a:cubicBezTo>
                    <a:pt x="10465" y="15452"/>
                    <a:pt x="10298" y="14854"/>
                    <a:pt x="10047" y="14288"/>
                  </a:cubicBezTo>
                  <a:lnTo>
                    <a:pt x="16257" y="7906"/>
                  </a:lnTo>
                  <a:cubicBezTo>
                    <a:pt x="16637" y="9140"/>
                    <a:pt x="16442" y="10429"/>
                    <a:pt x="15610" y="11284"/>
                  </a:cubicBezTo>
                  <a:cubicBezTo>
                    <a:pt x="15604" y="11290"/>
                    <a:pt x="15598" y="11293"/>
                    <a:pt x="15593" y="11298"/>
                  </a:cubicBezTo>
                  <a:lnTo>
                    <a:pt x="15602" y="11306"/>
                  </a:lnTo>
                  <a:lnTo>
                    <a:pt x="10525" y="16565"/>
                  </a:lnTo>
                  <a:cubicBezTo>
                    <a:pt x="10527" y="16397"/>
                    <a:pt x="10534" y="16232"/>
                    <a:pt x="10519" y="16061"/>
                  </a:cubicBezTo>
                  <a:moveTo>
                    <a:pt x="19308" y="1741"/>
                  </a:moveTo>
                  <a:cubicBezTo>
                    <a:pt x="18228" y="632"/>
                    <a:pt x="16805" y="0"/>
                    <a:pt x="15403" y="0"/>
                  </a:cubicBezTo>
                  <a:cubicBezTo>
                    <a:pt x="14220" y="0"/>
                    <a:pt x="13131" y="450"/>
                    <a:pt x="12335" y="1266"/>
                  </a:cubicBezTo>
                  <a:lnTo>
                    <a:pt x="9138" y="4577"/>
                  </a:lnTo>
                  <a:cubicBezTo>
                    <a:pt x="9129" y="4585"/>
                    <a:pt x="9118" y="4592"/>
                    <a:pt x="9108" y="4602"/>
                  </a:cubicBezTo>
                  <a:cubicBezTo>
                    <a:pt x="9103" y="4608"/>
                    <a:pt x="9100" y="4614"/>
                    <a:pt x="9095" y="4620"/>
                  </a:cubicBezTo>
                  <a:lnTo>
                    <a:pt x="9096" y="4621"/>
                  </a:lnTo>
                  <a:lnTo>
                    <a:pt x="2310" y="11647"/>
                  </a:lnTo>
                  <a:cubicBezTo>
                    <a:pt x="1998" y="11966"/>
                    <a:pt x="1771" y="12364"/>
                    <a:pt x="1645" y="12797"/>
                  </a:cubicBezTo>
                  <a:lnTo>
                    <a:pt x="102" y="18541"/>
                  </a:lnTo>
                  <a:cubicBezTo>
                    <a:pt x="100" y="18557"/>
                    <a:pt x="0" y="19008"/>
                    <a:pt x="0" y="19237"/>
                  </a:cubicBezTo>
                  <a:cubicBezTo>
                    <a:pt x="0" y="20541"/>
                    <a:pt x="1030" y="21599"/>
                    <a:pt x="2302" y="21599"/>
                  </a:cubicBezTo>
                  <a:cubicBezTo>
                    <a:pt x="2554" y="21599"/>
                    <a:pt x="3044" y="21475"/>
                    <a:pt x="3062" y="21473"/>
                  </a:cubicBezTo>
                  <a:lnTo>
                    <a:pt x="8630" y="19969"/>
                  </a:lnTo>
                  <a:cubicBezTo>
                    <a:pt x="9054" y="19839"/>
                    <a:pt x="9439" y="19604"/>
                    <a:pt x="9750" y="19283"/>
                  </a:cubicBezTo>
                  <a:lnTo>
                    <a:pt x="19776" y="8899"/>
                  </a:lnTo>
                  <a:cubicBezTo>
                    <a:pt x="21600" y="7023"/>
                    <a:pt x="21394" y="3881"/>
                    <a:pt x="19308" y="174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543" eaLnBrk="1">
                <a:defRPr/>
              </a:pPr>
              <a:endParaRPr lang="en-US"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D2B0D78A-622F-4DE4-B7D0-7F4D92218FF2}"/>
              </a:ext>
            </a:extLst>
          </p:cNvPr>
          <p:cNvSpPr txBox="1"/>
          <p:nvPr/>
        </p:nvSpPr>
        <p:spPr>
          <a:xfrm>
            <a:off x="1162015" y="2242194"/>
            <a:ext cx="3528570" cy="307777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Начальные классы</a:t>
            </a:r>
            <a:endParaRPr lang="en-US" sz="2000" dirty="0"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530B8AA2-1CEE-41CF-84A9-9EE2FF2CEFA6}"/>
              </a:ext>
            </a:extLst>
          </p:cNvPr>
          <p:cNvSpPr txBox="1"/>
          <p:nvPr/>
        </p:nvSpPr>
        <p:spPr>
          <a:xfrm>
            <a:off x="1162015" y="2587776"/>
            <a:ext cx="3528570" cy="246221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>
              <a:defRPr/>
            </a:pPr>
            <a:r>
              <a:rPr lang="ru-RU" sz="1600" dirty="0"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2 педагога</a:t>
            </a:r>
            <a:endParaRPr lang="en-US" sz="1600" dirty="0"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grpSp>
        <p:nvGrpSpPr>
          <p:cNvPr id="100" name="Группа 99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102" name="Прямоугольник 101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104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Рисунок 104"/>
            <p:cNvPicPr>
              <a:picLocks noChangeAspect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107" name="Рисунок 106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6405" y="3806791"/>
            <a:ext cx="1336794" cy="193562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15" b="11526"/>
          <a:stretch/>
        </p:blipFill>
        <p:spPr>
          <a:xfrm>
            <a:off x="8474500" y="3748344"/>
            <a:ext cx="1502620" cy="203269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22" b="16329"/>
          <a:stretch/>
        </p:blipFill>
        <p:spPr>
          <a:xfrm>
            <a:off x="8446574" y="1490115"/>
            <a:ext cx="1568627" cy="201204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278"/>
          <a:stretch/>
        </p:blipFill>
        <p:spPr>
          <a:xfrm>
            <a:off x="5354754" y="1556123"/>
            <a:ext cx="1488329" cy="194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6738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>
            <a:extLst>
              <a:ext uri="{FF2B5EF4-FFF2-40B4-BE49-F238E27FC236}">
                <a16:creationId xmlns:a16="http://schemas.microsoft.com/office/drawing/2014/main" id="{D4C1FA48-51D0-4098-8F97-4217181ED385}"/>
              </a:ext>
            </a:extLst>
          </p:cNvPr>
          <p:cNvSpPr txBox="1"/>
          <p:nvPr/>
        </p:nvSpPr>
        <p:spPr>
          <a:xfrm>
            <a:off x="1530865" y="682642"/>
            <a:ext cx="81352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2900680" algn="l"/>
              </a:tabLst>
            </a:pPr>
            <a:r>
              <a:rPr lang="ru-RU" sz="3600" spc="600" dirty="0">
                <a:solidFill>
                  <a:srgbClr val="0E78A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 педагогического труда</a:t>
            </a:r>
            <a:endParaRPr lang="ru-RU" sz="1050" spc="600" dirty="0">
              <a:solidFill>
                <a:srgbClr val="0E78A7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65" y="190083"/>
            <a:ext cx="1356909" cy="137299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8757319" y="2082796"/>
            <a:ext cx="1360765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Баталенко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Наталья Николаевн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читель русского языка, Заслуженный работник образования Московской области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5335228" y="1923044"/>
            <a:ext cx="1574382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Пономаренко Ольга Юрьевн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читель истории, Почётный работник сферы образования Российской Федерации, Заслуженный работник образования Московской област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156909" y="2184400"/>
            <a:ext cx="143532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емина Надежда Васильевн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читель музыки, 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Заслуженный учитель Российской Федерации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10081377" y="-1"/>
            <a:ext cx="2115328" cy="6858000"/>
            <a:chOff x="10081377" y="-1"/>
            <a:chExt cx="2115328" cy="6858000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10282677" y="-1"/>
              <a:ext cx="1914028" cy="6858000"/>
            </a:xfrm>
            <a:prstGeom prst="rect">
              <a:avLst/>
            </a:prstGeom>
            <a:pattFill prst="pct50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solidFill>
                <a:srgbClr val="F9F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0392250" y="4702430"/>
              <a:ext cx="15985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Задать свой вопрос</a:t>
              </a:r>
            </a:p>
          </p:txBody>
        </p:sp>
        <p:pic>
          <p:nvPicPr>
            <p:cNvPr id="46" name="Рисунок 20">
              <a:extLst>
                <a:ext uri="{FF2B5EF4-FFF2-40B4-BE49-F238E27FC236}">
                  <a16:creationId xmlns:a16="http://schemas.microsoft.com/office/drawing/2014/main" id="{8AD8D691-4492-21DC-BA59-0B1A9D23D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56"/>
            <a:stretch>
              <a:fillRect/>
            </a:stretch>
          </p:blipFill>
          <p:spPr bwMode="auto">
            <a:xfrm rot="5400000">
              <a:off x="7423107" y="2672065"/>
              <a:ext cx="5728625" cy="412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Рисунок 46"/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99" t="24171" r="29362" b="26540"/>
            <a:stretch/>
          </p:blipFill>
          <p:spPr>
            <a:xfrm>
              <a:off x="10272903" y="1144577"/>
              <a:ext cx="1837246" cy="1480809"/>
            </a:xfrm>
            <a:prstGeom prst="rect">
              <a:avLst/>
            </a:prstGeom>
          </p:spPr>
        </p:pic>
        <p:pic>
          <p:nvPicPr>
            <p:cNvPr id="48" name="Рисунок 47"/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2523" y="2691942"/>
              <a:ext cx="1878006" cy="1878006"/>
            </a:xfrm>
            <a:prstGeom prst="rect">
              <a:avLst/>
            </a:prstGeom>
          </p:spPr>
        </p:pic>
      </p:grpSp>
      <p:pic>
        <p:nvPicPr>
          <p:cNvPr id="2" name="Picture 2" descr="https://downloader.disk.yandex.ru/preview/f8ed3ef83cf36c36e876f8ffa25a652aaa8214f2a8732070229f2db82470439d/64502aeb/s_kSrQbA8Eq2Q5TTN55VhbovzR0funyeE_6m5YByvKzABQ6qpQMbp0fYdsyADiO7E9o7RShVeIJDchV4s3icMA%3D%3D?uid=0&amp;filename=%D0%A1%D1%91%D0%BC%D0%B8%D0%BD%D0%B0%20%D0%9D%D0%B0%D0%B4%D0%B5%D0%B6%D0%B4%D0%B0%20%D0%92%D0%B0%D1%81%D0%B8%D0%BB%D1%8C%D0%B5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52" y="2082796"/>
            <a:ext cx="1566202" cy="2351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downloader.disk.yandex.ru/preview/a5de4531d7478cf2c82284254d7b57ed6ede9f26c6212f508113eb1f52213b51/64502aeb/DQjfrIPmfT7XFXshAdCgkj4TmWKL0X9hJJl-0x9BGwmrTqQz3LrlNnac6XnilYSrcSIH6w-dQfjTvwmiVQjQ1w%3D%3D?uid=0&amp;filename=%D0%9F%D0%BE%D0%BD%D0%BE%D0%BC%D0%B0%D1%80%D0%B5%D0%BD%D0%BA%D0%BE%20%D0%9E%D0%BB%D1%8C%D0%B3%D0%B0%20%D0%AE%D1%80%D1%8C%D0%B5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801" y="2082796"/>
            <a:ext cx="1610875" cy="2351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s://downloader.disk.yandex.ru/preview/bb39f16ddedbc0c1004163ca141daf30579a371ecb8034a0c71025da15954554/64502aeb/a0xhWVH3SCFkFrD-PDhuYjxBkgZDwW901uBUzS7iiUe3rY5niMyHSEoO_noeGAsuOdli-hBJg9xVW9MrLUKjgg%3D%3D?uid=0&amp;filename=%D0%91%D0%B0%D1%82%D0%B0%D0%BB%D0%B5%D0%BD%D0%BA%D0%BE%20%D0%9D%D0%B0%D1%82%D0%B0%D0%BB%D1%8C%D1%8F%20%D0%9D%D0%B8%D0%BA%D0%BE%D0%BB%D0%B0%D0%B5%D0%B2%D0%BD%D0%B0.jpg&amp;disposition=inline&amp;hash=&amp;limit=0&amp;content_type=image%2Fjpeg&amp;owner_uid=0&amp;tknv=v2&amp;size=1822x895"/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7741" y="2034804"/>
            <a:ext cx="1598159" cy="2399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3905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138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0BD390"/>
      </a:accent1>
      <a:accent2>
        <a:srgbClr val="07875C"/>
      </a:accent2>
      <a:accent3>
        <a:srgbClr val="09B77D"/>
      </a:accent3>
      <a:accent4>
        <a:srgbClr val="3E8853"/>
      </a:accent4>
      <a:accent5>
        <a:srgbClr val="6EAC1C"/>
      </a:accent5>
      <a:accent6>
        <a:srgbClr val="92D050"/>
      </a:accent6>
      <a:hlink>
        <a:srgbClr val="6EAC1C"/>
      </a:hlink>
      <a:folHlink>
        <a:srgbClr val="B26B0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Office Theme">
  <a:themeElements>
    <a:clrScheme name="Custom 138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0BD390"/>
      </a:accent1>
      <a:accent2>
        <a:srgbClr val="07875C"/>
      </a:accent2>
      <a:accent3>
        <a:srgbClr val="09B77D"/>
      </a:accent3>
      <a:accent4>
        <a:srgbClr val="3E8853"/>
      </a:accent4>
      <a:accent5>
        <a:srgbClr val="6EAC1C"/>
      </a:accent5>
      <a:accent6>
        <a:srgbClr val="92D050"/>
      </a:accent6>
      <a:hlink>
        <a:srgbClr val="6EAC1C"/>
      </a:hlink>
      <a:folHlink>
        <a:srgbClr val="B26B0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326</TotalTime>
  <Words>1744</Words>
  <Application>Microsoft Office PowerPoint</Application>
  <PresentationFormat>Широкоэкранный</PresentationFormat>
  <Paragraphs>469</Paragraphs>
  <Slides>41</Slides>
  <Notes>3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41</vt:i4>
      </vt:variant>
    </vt:vector>
  </HeadingPairs>
  <TitlesOfParts>
    <vt:vector size="49" baseType="lpstr">
      <vt:lpstr>Arial</vt:lpstr>
      <vt:lpstr>Arial Black</vt:lpstr>
      <vt:lpstr>Calibri</vt:lpstr>
      <vt:lpstr>Calibri Light</vt:lpstr>
      <vt:lpstr>Gill Sans</vt:lpstr>
      <vt:lpstr>Times New Roman</vt:lpstr>
      <vt:lpstr>Office Theme</vt:lpstr>
      <vt:lpstr>7_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yan</dc:creator>
  <cp:lastModifiedBy>Анна Хоружева</cp:lastModifiedBy>
  <cp:revision>1728</cp:revision>
  <cp:lastPrinted>2023-05-02T07:39:06Z</cp:lastPrinted>
  <dcterms:created xsi:type="dcterms:W3CDTF">2018-07-25T08:00:55Z</dcterms:created>
  <dcterms:modified xsi:type="dcterms:W3CDTF">2023-05-02T16:26:48Z</dcterms:modified>
</cp:coreProperties>
</file>